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8" r:id="rId4"/>
  </p:sldMasterIdLst>
  <p:notesMasterIdLst>
    <p:notesMasterId r:id="rId12"/>
  </p:notesMasterIdLst>
  <p:handoutMasterIdLst>
    <p:handoutMasterId r:id="rId13"/>
  </p:handoutMasterIdLst>
  <p:sldIdLst>
    <p:sldId id="256" r:id="rId5"/>
    <p:sldId id="368" r:id="rId6"/>
    <p:sldId id="2967" r:id="rId7"/>
    <p:sldId id="2830" r:id="rId8"/>
    <p:sldId id="2962" r:id="rId9"/>
    <p:sldId id="260" r:id="rId10"/>
    <p:sldId id="2965" r:id="rId11"/>
  </p:sldIdLst>
  <p:sldSz cx="9144000" cy="5143500" type="screen16x9"/>
  <p:notesSz cx="6797675" cy="9928225"/>
  <p:custDataLst>
    <p:tags r:id="rId14"/>
  </p:custDataLst>
  <p:defaultTextStyle>
    <a:defPPr>
      <a:defRPr lang="de-DE"/>
    </a:defPPr>
    <a:lvl1pPr marL="0" algn="l" defTabSz="914400" rtl="0" eaLnBrk="1" latinLnBrk="0" hangingPunct="1">
      <a:defRPr kumimoji="0" lang="de-DE" sz="1600" b="0" i="0" u="none" kern="1200" baseline="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6355F5D-0800-6252-D581-94C8BAD9AEFF}" name="Kreglinger, Anne" initials="KA" userId="S::A47344@uniper.energy::f2ee7ef4-d8e1-4b29-833e-13fa1d4789b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AB46"/>
    <a:srgbClr val="29527A"/>
    <a:srgbClr val="5E5E5E"/>
    <a:srgbClr val="0078DC"/>
    <a:srgbClr val="E6252E"/>
    <a:srgbClr val="FFEA00"/>
    <a:srgbClr val="FFE600"/>
    <a:srgbClr val="E6F4FE"/>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F857CB-4EA2-4A58-915E-47DB0B547168}" v="15" dt="2024-06-26T13:35:44.476"/>
    <p1510:client id="{14EF1C91-C10A-4697-B795-D6CEA4C14067}" v="77" dt="2024-06-27T10:54:24.444"/>
    <p1510:client id="{6129B43B-FEEF-BF51-0088-9BD508720BD6}" v="108" dt="2024-06-27T07:35:57.294"/>
    <p1510:client id="{8698FBBD-971B-00A9-3578-4CEAE91ED0E9}" v="672" dt="2024-06-26T12:39:38.044"/>
    <p1510:client id="{A4AA00AE-CEBB-02CB-83A3-A82676F74531}" v="18" dt="2024-06-26T13:24:38.155"/>
    <p1510:client id="{B40D0FAD-BC64-35CA-693B-8CCB40369B96}" v="7" dt="2024-06-28T10:22:07.993"/>
    <p1510:client id="{C3416225-55A5-1F25-048C-AEF54D050F1D}" v="48" dt="2024-06-26T13:26:45.1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9" d="100"/>
          <a:sy n="99" d="100"/>
        </p:scale>
        <p:origin x="1680" y="9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4.xml" Id="rId8" /><Relationship Type="http://schemas.openxmlformats.org/officeDocument/2006/relationships/handoutMaster" Target="handoutMasters/handoutMaster1.xml" Id="rId13" /><Relationship Type="http://schemas.openxmlformats.org/officeDocument/2006/relationships/tableStyles" Target="tableStyles.xml" Id="rId18" /><Relationship Type="http://schemas.openxmlformats.org/officeDocument/2006/relationships/customXml" Target="../customXml/item3.xml" Id="rId3" /><Relationship Type="http://schemas.microsoft.com/office/2018/10/relationships/authors" Target="authors.xml" Id="rId21" /><Relationship Type="http://schemas.openxmlformats.org/officeDocument/2006/relationships/slide" Target="slides/slide3.xml" Id="rId7" /><Relationship Type="http://schemas.openxmlformats.org/officeDocument/2006/relationships/notesMaster" Target="notesMasters/notesMaster1.xml" Id="rId12" /><Relationship Type="http://schemas.openxmlformats.org/officeDocument/2006/relationships/theme" Target="theme/theme1.xml" Id="rId17" /><Relationship Type="http://schemas.openxmlformats.org/officeDocument/2006/relationships/customXml" Target="../customXml/item2.xml" Id="rId2" /><Relationship Type="http://schemas.openxmlformats.org/officeDocument/2006/relationships/viewProps" Target="viewProps.xml" Id="rId16" /><Relationship Type="http://schemas.microsoft.com/office/2015/10/relationships/revisionInfo" Target="revisionInfo.xml" Id="rId20"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1.xml" Id="rId5" /><Relationship Type="http://schemas.openxmlformats.org/officeDocument/2006/relationships/presProps" Target="presProps.xml" Id="rId15" /><Relationship Type="http://schemas.openxmlformats.org/officeDocument/2006/relationships/slide" Target="slides/slide6.xml" Id="rId10"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tags" Target="tags/tag1.xml" Id="rId14"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sz="1050">
              <a:latin typeface="Arial" pitchFamily="34" charset="0"/>
              <a:cs typeface="Arial" pitchFamily="34" charset="0"/>
            </a:endParaRPr>
          </a:p>
        </p:txBody>
      </p:sp>
      <p:sp>
        <p:nvSpPr>
          <p:cNvPr id="3" name="Datumsplatzhalt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C932BE8F-B637-4C47-B142-3817287274CE}" type="datetimeFigureOut">
              <a:rPr lang="de-DE" sz="1050">
                <a:latin typeface="Arial" pitchFamily="34" charset="0"/>
                <a:cs typeface="Arial" pitchFamily="34" charset="0"/>
              </a:rPr>
              <a:pPr/>
              <a:t>28.06.2024</a:t>
            </a:fld>
            <a:endParaRPr lang="de-DE" sz="1050">
              <a:latin typeface="Arial" pitchFamily="34" charset="0"/>
              <a:cs typeface="Arial" pitchFamily="34" charset="0"/>
            </a:endParaRPr>
          </a:p>
        </p:txBody>
      </p:sp>
      <p:sp>
        <p:nvSpPr>
          <p:cNvPr id="4" name="Fußzeilenplatzhalt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sz="1050">
              <a:latin typeface="Arial" pitchFamily="34" charset="0"/>
              <a:cs typeface="Arial" pitchFamily="34" charset="0"/>
            </a:endParaRPr>
          </a:p>
        </p:txBody>
      </p:sp>
      <p:sp>
        <p:nvSpPr>
          <p:cNvPr id="5" name="Foliennummernplatzhalt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D29711D6-7C16-408D-AB39-A77E8CF5A3FD}" type="slidenum">
              <a:rPr lang="de-DE" sz="1050">
                <a:latin typeface="Arial" pitchFamily="34" charset="0"/>
                <a:cs typeface="Arial" pitchFamily="34" charset="0"/>
              </a:rPr>
              <a:pPr/>
              <a:t>‹Nr.›</a:t>
            </a:fld>
            <a:endParaRPr lang="de-DE" sz="1050">
              <a:latin typeface="Arial" pitchFamily="34" charset="0"/>
              <a:cs typeface="Arial" pitchFamily="34" charset="0"/>
            </a:endParaRPr>
          </a:p>
        </p:txBody>
      </p:sp>
    </p:spTree>
    <p:extLst>
      <p:ext uri="{BB962C8B-B14F-4D97-AF65-F5344CB8AC3E}">
        <p14:creationId xmlns:p14="http://schemas.microsoft.com/office/powerpoint/2010/main" val="41283698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DD48DAF9-FCAF-40AF-8859-05C8E311A5C6}" type="datetimeFigureOut">
              <a:rPr lang="de-DE"/>
              <a:pPr/>
              <a:t>28.06.2024</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B60C4BC3-9AD3-461B-862E-410046728F4C}" type="slidenum">
              <a:rPr lang="de-DE"/>
              <a:pPr/>
              <a:t>‹Nr.›</a:t>
            </a:fld>
            <a:endParaRPr lang="de-DE"/>
          </a:p>
        </p:txBody>
      </p:sp>
    </p:spTree>
    <p:extLst>
      <p:ext uri="{BB962C8B-B14F-4D97-AF65-F5344CB8AC3E}">
        <p14:creationId xmlns:p14="http://schemas.microsoft.com/office/powerpoint/2010/main" val="3624979210"/>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1050" kern="1200">
        <a:solidFill>
          <a:schemeClr val="tx1"/>
        </a:solidFill>
        <a:latin typeface="Arial" pitchFamily="34" charset="0"/>
        <a:ea typeface="+mn-ea"/>
        <a:cs typeface="Arial" pitchFamily="34" charset="0"/>
      </a:defRPr>
    </a:lvl1pPr>
    <a:lvl2pPr marL="207963" indent="-206375" algn="l" defTabSz="914400" rtl="0" eaLnBrk="1" latinLnBrk="0" hangingPunct="1">
      <a:buClr>
        <a:srgbClr val="0078DC"/>
      </a:buClr>
      <a:buFont typeface="Wingdings" pitchFamily="2" charset="2"/>
      <a:buChar char=""/>
      <a:defRPr sz="1050" kern="1200">
        <a:solidFill>
          <a:schemeClr val="tx1"/>
        </a:solidFill>
        <a:latin typeface="Arial" pitchFamily="34" charset="0"/>
        <a:ea typeface="+mn-ea"/>
        <a:cs typeface="Arial" pitchFamily="34" charset="0"/>
      </a:defRPr>
    </a:lvl2pPr>
    <a:lvl3pPr marL="209550" indent="0" algn="l" defTabSz="914400" rtl="0" eaLnBrk="1" latinLnBrk="0" hangingPunct="1">
      <a:defRPr sz="1050" kern="1200">
        <a:solidFill>
          <a:schemeClr val="tx1"/>
        </a:solidFill>
        <a:latin typeface="Arial" pitchFamily="34" charset="0"/>
        <a:ea typeface="+mn-ea"/>
        <a:cs typeface="Arial" pitchFamily="34" charset="0"/>
      </a:defRPr>
    </a:lvl3pPr>
    <a:lvl4pPr marL="412750" indent="-201613" algn="l" defTabSz="914400" rtl="0" eaLnBrk="1" latinLnBrk="0" hangingPunct="1">
      <a:buClr>
        <a:srgbClr val="0078DC"/>
      </a:buClr>
      <a:buFont typeface="Wingdings" pitchFamily="2" charset="2"/>
      <a:buChar char=""/>
      <a:defRPr sz="1050" kern="1200">
        <a:solidFill>
          <a:schemeClr val="tx1"/>
        </a:solidFill>
        <a:latin typeface="Arial" pitchFamily="34" charset="0"/>
        <a:ea typeface="+mn-ea"/>
        <a:cs typeface="Arial" pitchFamily="34" charset="0"/>
      </a:defRPr>
    </a:lvl4pPr>
    <a:lvl5pPr marL="414338" indent="0" algn="l" defTabSz="914400" rtl="0" eaLnBrk="1" latinLnBrk="0" hangingPunct="1">
      <a:defRPr sz="105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838" y="808038"/>
            <a:ext cx="7185026" cy="404177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Basic Info PSW </a:t>
            </a:r>
            <a:r>
              <a:rPr lang="en-US" err="1"/>
              <a:t>Happurg</a:t>
            </a:r>
            <a:r>
              <a:rPr lang="en-US"/>
              <a:t> - </a:t>
            </a:r>
            <a:r>
              <a:rPr lang="en-US" i="1"/>
              <a:t>emphasize its size and importance; </a:t>
            </a:r>
            <a:r>
              <a:rPr lang="en-US" i="1" err="1"/>
              <a:t>andere</a:t>
            </a:r>
            <a:r>
              <a:rPr lang="en-US" i="1"/>
              <a:t> </a:t>
            </a:r>
            <a:r>
              <a:rPr lang="en-US" i="1" err="1"/>
              <a:t>verwendungen</a:t>
            </a:r>
            <a:r>
              <a:rPr lang="en-US" i="1"/>
              <a:t> (</a:t>
            </a:r>
            <a:r>
              <a:rPr lang="en-US" i="1" err="1"/>
              <a:t>Hochwasserschutz</a:t>
            </a:r>
            <a:r>
              <a:rPr lang="en-US" i="1"/>
              <a:t>)</a:t>
            </a:r>
          </a:p>
        </p:txBody>
      </p:sp>
      <p:sp>
        <p:nvSpPr>
          <p:cNvPr id="4" name="Slide Number Placeholder 3"/>
          <p:cNvSpPr>
            <a:spLocks noGrp="1"/>
          </p:cNvSpPr>
          <p:nvPr>
            <p:ph type="sldNum" sz="quarter" idx="5"/>
          </p:nvPr>
        </p:nvSpPr>
        <p:spPr/>
        <p:txBody>
          <a:bodyPr/>
          <a:lstStyle/>
          <a:p>
            <a:fld id="{B60C4BC3-9AD3-461B-862E-410046728F4C}" type="slidenum">
              <a:rPr lang="de-DE" smtClean="0"/>
              <a:pPr/>
              <a:t>2</a:t>
            </a:fld>
            <a:endParaRPr lang="de-DE"/>
          </a:p>
        </p:txBody>
      </p:sp>
    </p:spTree>
    <p:extLst>
      <p:ext uri="{BB962C8B-B14F-4D97-AF65-F5344CB8AC3E}">
        <p14:creationId xmlns:p14="http://schemas.microsoft.com/office/powerpoint/2010/main" val="3308968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838" y="808038"/>
            <a:ext cx="7185026" cy="404177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Basic Info PSW </a:t>
            </a:r>
            <a:r>
              <a:rPr lang="en-US" err="1"/>
              <a:t>Happurg</a:t>
            </a:r>
            <a:r>
              <a:rPr lang="en-US"/>
              <a:t> - </a:t>
            </a:r>
            <a:r>
              <a:rPr lang="en-US" i="1"/>
              <a:t>emphasize its size and importance; </a:t>
            </a:r>
            <a:r>
              <a:rPr lang="en-US" i="1" err="1"/>
              <a:t>andere</a:t>
            </a:r>
            <a:r>
              <a:rPr lang="en-US" i="1"/>
              <a:t> </a:t>
            </a:r>
            <a:r>
              <a:rPr lang="en-US" i="1" err="1"/>
              <a:t>verwendungen</a:t>
            </a:r>
            <a:r>
              <a:rPr lang="en-US" i="1"/>
              <a:t> (</a:t>
            </a:r>
            <a:r>
              <a:rPr lang="en-US" i="1" err="1"/>
              <a:t>Hochwasserschutz</a:t>
            </a:r>
            <a:r>
              <a:rPr lang="en-US" i="1"/>
              <a:t>)</a:t>
            </a:r>
          </a:p>
        </p:txBody>
      </p:sp>
      <p:sp>
        <p:nvSpPr>
          <p:cNvPr id="4" name="Slide Number Placeholder 3"/>
          <p:cNvSpPr>
            <a:spLocks noGrp="1"/>
          </p:cNvSpPr>
          <p:nvPr>
            <p:ph type="sldNum" sz="quarter" idx="5"/>
          </p:nvPr>
        </p:nvSpPr>
        <p:spPr/>
        <p:txBody>
          <a:bodyPr/>
          <a:lstStyle/>
          <a:p>
            <a:fld id="{B60C4BC3-9AD3-461B-862E-410046728F4C}" type="slidenum">
              <a:rPr lang="de-DE" smtClean="0"/>
              <a:pPr/>
              <a:t>3</a:t>
            </a:fld>
            <a:endParaRPr lang="de-DE"/>
          </a:p>
        </p:txBody>
      </p:sp>
    </p:spTree>
    <p:extLst>
      <p:ext uri="{BB962C8B-B14F-4D97-AF65-F5344CB8AC3E}">
        <p14:creationId xmlns:p14="http://schemas.microsoft.com/office/powerpoint/2010/main" val="2924118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F6EA0A5-0BFA-4A3C-99B5-282FE47519B0}" type="slidenum">
              <a:rPr lang="de-DE" smtClean="0"/>
              <a:t>4</a:t>
            </a:fld>
            <a:endParaRPr lang="de-DE"/>
          </a:p>
        </p:txBody>
      </p:sp>
    </p:spTree>
    <p:extLst>
      <p:ext uri="{BB962C8B-B14F-4D97-AF65-F5344CB8AC3E}">
        <p14:creationId xmlns:p14="http://schemas.microsoft.com/office/powerpoint/2010/main" val="10553448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91200" y="3124800"/>
            <a:ext cx="7344000" cy="1177200"/>
          </a:xfrm>
        </p:spPr>
        <p:txBody>
          <a:bodyPr anchor="b" anchorCtr="0">
            <a:noAutofit/>
          </a:bodyPr>
          <a:lstStyle>
            <a:lvl1pPr>
              <a:defRPr sz="2400">
                <a:solidFill>
                  <a:srgbClr val="E6252E"/>
                </a:solidFill>
              </a:defRPr>
            </a:lvl1pPr>
          </a:lstStyle>
          <a:p>
            <a:r>
              <a:rPr lang="de-DE"/>
              <a:t>Mastertitelformat bearbeiten</a:t>
            </a:r>
          </a:p>
        </p:txBody>
      </p:sp>
      <p:sp>
        <p:nvSpPr>
          <p:cNvPr id="3" name="Untertitel 2"/>
          <p:cNvSpPr>
            <a:spLocks noGrp="1"/>
          </p:cNvSpPr>
          <p:nvPr>
            <p:ph type="subTitle" idx="1"/>
          </p:nvPr>
        </p:nvSpPr>
        <p:spPr>
          <a:xfrm>
            <a:off x="691200" y="4345200"/>
            <a:ext cx="7344000" cy="216000"/>
          </a:xfrm>
        </p:spPr>
        <p:txBody>
          <a:bodyPr/>
          <a:lstStyle>
            <a:lvl1pPr marL="0" indent="0" algn="l">
              <a:spcAft>
                <a:spcPts val="0"/>
              </a:spcAft>
              <a:buNone/>
              <a:defRPr sz="1600">
                <a:solidFill>
                  <a:srgbClr val="5E5E5E"/>
                </a:solidFill>
              </a:defRPr>
            </a:lvl1pPr>
            <a:lvl2pPr marL="457200" indent="0" algn="l">
              <a:buNone/>
              <a:defRPr>
                <a:solidFill>
                  <a:srgbClr val="5E5E5E"/>
                </a:solidFill>
              </a:defRPr>
            </a:lvl2pPr>
            <a:lvl3pPr marL="914400" indent="0" algn="l">
              <a:buNone/>
              <a:defRPr>
                <a:solidFill>
                  <a:srgbClr val="5E5E5E"/>
                </a:solidFill>
              </a:defRPr>
            </a:lvl3pPr>
            <a:lvl4pPr marL="1371600" indent="0" algn="l">
              <a:buNone/>
              <a:defRPr>
                <a:solidFill>
                  <a:srgbClr val="5E5E5E"/>
                </a:solidFill>
              </a:defRPr>
            </a:lvl4pPr>
            <a:lvl5pPr marL="1828800" indent="0" algn="l">
              <a:buNone/>
              <a:defRPr>
                <a:solidFill>
                  <a:srgbClr val="5E5E5E"/>
                </a:solidFill>
              </a:defRPr>
            </a:lvl5pPr>
            <a:lvl6pPr marL="2286000" indent="0" algn="l">
              <a:buNone/>
              <a:defRPr>
                <a:solidFill>
                  <a:srgbClr val="5E5E5E"/>
                </a:solidFill>
              </a:defRPr>
            </a:lvl6pPr>
            <a:lvl7pPr marL="2743200" indent="0" algn="l">
              <a:buNone/>
              <a:defRPr>
                <a:solidFill>
                  <a:srgbClr val="5E5E5E"/>
                </a:solidFill>
              </a:defRPr>
            </a:lvl7pPr>
            <a:lvl8pPr marL="3200400" indent="0" algn="l">
              <a:buNone/>
              <a:defRPr>
                <a:solidFill>
                  <a:srgbClr val="5E5E5E"/>
                </a:solidFill>
              </a:defRPr>
            </a:lvl8pPr>
            <a:lvl9pPr marL="3657600" indent="0" algn="l">
              <a:buNone/>
              <a:defRPr>
                <a:solidFill>
                  <a:srgbClr val="5E5E5E"/>
                </a:solidFill>
              </a:defRPr>
            </a:lvl9pPr>
          </a:lstStyle>
          <a:p>
            <a:r>
              <a:rPr lang="de-DE"/>
              <a:t>Master-Untertitelformat bearbeiten</a:t>
            </a:r>
          </a:p>
        </p:txBody>
      </p:sp>
      <p:pic>
        <p:nvPicPr>
          <p:cNvPr id="7" name="Grafik 6" descr="Uniper_Logo_Office_CO_PPT_large.png"/>
          <p:cNvPicPr>
            <a:picLocks noChangeAspect="1"/>
          </p:cNvPicPr>
          <p:nvPr/>
        </p:nvPicPr>
        <p:blipFill>
          <a:blip r:embed="rId2" cstate="print"/>
          <a:stretch>
            <a:fillRect/>
          </a:stretch>
        </p:blipFill>
        <p:spPr>
          <a:xfrm>
            <a:off x="504000" y="414000"/>
            <a:ext cx="1512000" cy="1308489"/>
          </a:xfrm>
          <a:prstGeom prst="rect">
            <a:avLst/>
          </a:prstGeom>
        </p:spPr>
      </p:pic>
    </p:spTree>
    <p:extLst>
      <p:ext uri="{BB962C8B-B14F-4D97-AF65-F5344CB8AC3E}">
        <p14:creationId xmlns:p14="http://schemas.microsoft.com/office/powerpoint/2010/main" val="3785774180"/>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9D543ADB-E95E-4587-963D-D3C6AB2E96C0}" type="slidenum">
              <a:rPr lang="de-DE"/>
              <a:pPr/>
              <a:t>‹Nr.›</a:t>
            </a:fld>
            <a:endParaRPr lang="de-DE"/>
          </a:p>
        </p:txBody>
      </p:sp>
      <p:sp>
        <p:nvSpPr>
          <p:cNvPr id="4" name="Title 3">
            <a:extLst>
              <a:ext uri="{FF2B5EF4-FFF2-40B4-BE49-F238E27FC236}">
                <a16:creationId xmlns:a16="http://schemas.microsoft.com/office/drawing/2014/main" id="{2D1B8E22-44D6-4140-8465-BFCE1BE407C3}"/>
              </a:ext>
            </a:extLst>
          </p:cNvPr>
          <p:cNvSpPr>
            <a:spLocks noGrp="1"/>
          </p:cNvSpPr>
          <p:nvPr>
            <p:ph type="title"/>
          </p:nvPr>
        </p:nvSpPr>
        <p:spPr/>
        <p:txBody>
          <a:bodyPr/>
          <a:lstStyle/>
          <a:p>
            <a:r>
              <a:rPr lang="de-DE"/>
              <a:t>Mastertitelformat bearbeiten</a:t>
            </a:r>
            <a:endParaRPr lang="en-US"/>
          </a:p>
        </p:txBody>
      </p:sp>
      <p:sp>
        <p:nvSpPr>
          <p:cNvPr id="8" name="Content Placeholder 7">
            <a:extLst>
              <a:ext uri="{FF2B5EF4-FFF2-40B4-BE49-F238E27FC236}">
                <a16:creationId xmlns:a16="http://schemas.microsoft.com/office/drawing/2014/main" id="{C68CE395-B40F-4288-9476-4050B14A768D}"/>
              </a:ext>
            </a:extLst>
          </p:cNvPr>
          <p:cNvSpPr>
            <a:spLocks noGrp="1"/>
          </p:cNvSpPr>
          <p:nvPr>
            <p:ph sz="quarter" idx="13"/>
          </p:nvPr>
        </p:nvSpPr>
        <p:spPr>
          <a:xfrm>
            <a:off x="504000" y="1044000"/>
            <a:ext cx="8136000" cy="325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830961780"/>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Headline, sub header, 2 text area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38378-7150-4F99-B8AA-9CBA7E7FEC6D}"/>
              </a:ext>
            </a:extLst>
          </p:cNvPr>
          <p:cNvSpPr>
            <a:spLocks noGrp="1"/>
          </p:cNvSpPr>
          <p:nvPr>
            <p:ph type="title" hasCustomPrompt="1"/>
          </p:nvPr>
        </p:nvSpPr>
        <p:spPr>
          <a:xfrm>
            <a:off x="575100" y="719054"/>
            <a:ext cx="7989348" cy="810816"/>
          </a:xfrm>
          <a:prstGeom prst="rect">
            <a:avLst/>
          </a:prstGeom>
        </p:spPr>
        <p:txBody>
          <a:bodyPr/>
          <a:lstStyle/>
          <a:p>
            <a:r>
              <a:rPr lang="en-GB"/>
              <a:t>Click to add a headline of </a:t>
            </a:r>
            <a:br>
              <a:rPr lang="en-GB"/>
            </a:br>
            <a:r>
              <a:rPr lang="en-GB"/>
              <a:t>maximum two lines </a:t>
            </a:r>
          </a:p>
        </p:txBody>
      </p:sp>
      <p:sp>
        <p:nvSpPr>
          <p:cNvPr id="11" name="Text Placeholder 6">
            <a:extLst>
              <a:ext uri="{FF2B5EF4-FFF2-40B4-BE49-F238E27FC236}">
                <a16:creationId xmlns:a16="http://schemas.microsoft.com/office/drawing/2014/main" id="{82A8A40C-A03F-544A-8536-901204B8D626}"/>
              </a:ext>
            </a:extLst>
          </p:cNvPr>
          <p:cNvSpPr>
            <a:spLocks noGrp="1"/>
          </p:cNvSpPr>
          <p:nvPr>
            <p:ph type="body" sz="quarter" idx="13" hasCustomPrompt="1"/>
          </p:nvPr>
        </p:nvSpPr>
        <p:spPr>
          <a:xfrm>
            <a:off x="575101" y="347695"/>
            <a:ext cx="3807591" cy="319055"/>
          </a:xfrm>
          <a:prstGeom prst="rect">
            <a:avLst/>
          </a:prstGeom>
        </p:spPr>
        <p:txBody>
          <a:bodyPr anchor="b">
            <a:noAutofit/>
          </a:bodyPr>
          <a:lstStyle>
            <a:lvl1pPr marL="0" indent="0">
              <a:spcBef>
                <a:spcPts val="0"/>
              </a:spcBef>
              <a:spcAft>
                <a:spcPts val="0"/>
              </a:spcAft>
              <a:buNone/>
              <a:defRPr sz="675" b="0" i="0" cap="all" spc="45" baseline="0">
                <a:solidFill>
                  <a:schemeClr val="tx1"/>
                </a:solidFill>
              </a:defRPr>
            </a:lvl1pPr>
            <a:lvl5pPr>
              <a:defRPr>
                <a:solidFill>
                  <a:schemeClr val="bg1"/>
                </a:solidFill>
              </a:defRPr>
            </a:lvl5pPr>
          </a:lstStyle>
          <a:p>
            <a:pPr lvl="0"/>
            <a:r>
              <a:rPr lang="en-GB"/>
              <a:t>Click to add a sub header</a:t>
            </a:r>
          </a:p>
        </p:txBody>
      </p:sp>
      <p:sp>
        <p:nvSpPr>
          <p:cNvPr id="16" name="Platshållare för text 17">
            <a:extLst>
              <a:ext uri="{FF2B5EF4-FFF2-40B4-BE49-F238E27FC236}">
                <a16:creationId xmlns:a16="http://schemas.microsoft.com/office/drawing/2014/main" id="{833F5092-1DCC-C34E-AA33-E46555CD7AB3}"/>
              </a:ext>
            </a:extLst>
          </p:cNvPr>
          <p:cNvSpPr>
            <a:spLocks noGrp="1"/>
          </p:cNvSpPr>
          <p:nvPr>
            <p:ph type="body" sz="quarter" idx="16" hasCustomPrompt="1"/>
          </p:nvPr>
        </p:nvSpPr>
        <p:spPr>
          <a:xfrm>
            <a:off x="573883" y="1900237"/>
            <a:ext cx="3803187" cy="2667000"/>
          </a:xfrm>
        </p:spPr>
        <p:txBody>
          <a:bodyPr/>
          <a:lstStyle/>
          <a:p>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7" name="Platshållare för text 17">
            <a:extLst>
              <a:ext uri="{FF2B5EF4-FFF2-40B4-BE49-F238E27FC236}">
                <a16:creationId xmlns:a16="http://schemas.microsoft.com/office/drawing/2014/main" id="{EE965217-E7A2-0745-BFE0-B87EAF528DF8}"/>
              </a:ext>
            </a:extLst>
          </p:cNvPr>
          <p:cNvSpPr>
            <a:spLocks noGrp="1"/>
          </p:cNvSpPr>
          <p:nvPr>
            <p:ph type="body" sz="quarter" idx="17" hasCustomPrompt="1"/>
          </p:nvPr>
        </p:nvSpPr>
        <p:spPr>
          <a:xfrm>
            <a:off x="4765501" y="1900237"/>
            <a:ext cx="3796043" cy="2667000"/>
          </a:xfrm>
        </p:spPr>
        <p:txBody>
          <a:bodyPr/>
          <a:lstStyle/>
          <a:p>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9" name="Date Placeholder 3">
            <a:extLst>
              <a:ext uri="{FF2B5EF4-FFF2-40B4-BE49-F238E27FC236}">
                <a16:creationId xmlns:a16="http://schemas.microsoft.com/office/drawing/2014/main" id="{B9A5A164-C356-4A44-AC2A-38FA924C577C}"/>
              </a:ext>
            </a:extLst>
          </p:cNvPr>
          <p:cNvSpPr>
            <a:spLocks noGrp="1"/>
          </p:cNvSpPr>
          <p:nvPr>
            <p:ph type="dt" sz="half" idx="2"/>
          </p:nvPr>
        </p:nvSpPr>
        <p:spPr>
          <a:xfrm>
            <a:off x="723442" y="4833818"/>
            <a:ext cx="324308" cy="142876"/>
          </a:xfrm>
          <a:prstGeom prst="rect">
            <a:avLst/>
          </a:prstGeom>
        </p:spPr>
        <p:txBody>
          <a:bodyPr vert="horz" lIns="0" tIns="0" rIns="0" bIns="0" rtlCol="0" anchor="ctr"/>
          <a:lstStyle>
            <a:lvl1pPr algn="l">
              <a:defRPr sz="375" spc="15" baseline="0">
                <a:solidFill>
                  <a:schemeClr val="tx1"/>
                </a:solidFill>
              </a:defRPr>
            </a:lvl1pPr>
          </a:lstStyle>
          <a:p>
            <a:r>
              <a:rPr lang="de-DE"/>
              <a:t>15.11.2022</a:t>
            </a:r>
            <a:endParaRPr lang="en-GB"/>
          </a:p>
        </p:txBody>
      </p:sp>
      <p:sp>
        <p:nvSpPr>
          <p:cNvPr id="20" name="Footer Placeholder 4">
            <a:extLst>
              <a:ext uri="{FF2B5EF4-FFF2-40B4-BE49-F238E27FC236}">
                <a16:creationId xmlns:a16="http://schemas.microsoft.com/office/drawing/2014/main" id="{56CA21AC-C0C2-D640-9D84-9A1F12687E9D}"/>
              </a:ext>
            </a:extLst>
          </p:cNvPr>
          <p:cNvSpPr>
            <a:spLocks noGrp="1"/>
          </p:cNvSpPr>
          <p:nvPr>
            <p:ph type="ftr" sz="quarter" idx="3"/>
          </p:nvPr>
        </p:nvSpPr>
        <p:spPr>
          <a:xfrm>
            <a:off x="1062012" y="4833817"/>
            <a:ext cx="3297291" cy="142876"/>
          </a:xfrm>
          <a:prstGeom prst="rect">
            <a:avLst/>
          </a:prstGeom>
        </p:spPr>
        <p:txBody>
          <a:bodyPr vert="horz" lIns="0" tIns="0" rIns="0" bIns="0" rtlCol="0" anchor="ctr"/>
          <a:lstStyle>
            <a:lvl1pPr algn="l">
              <a:defRPr sz="375" cap="all" spc="15" baseline="0">
                <a:solidFill>
                  <a:schemeClr val="tx1"/>
                </a:solidFill>
              </a:defRPr>
            </a:lvl1pPr>
          </a:lstStyle>
          <a:p>
            <a:r>
              <a:rPr lang="de-AT"/>
              <a:t>| AFRY Austria GmbH | HAP/OB: Planungsbesprechung</a:t>
            </a:r>
            <a:endParaRPr lang="en-GB"/>
          </a:p>
        </p:txBody>
      </p:sp>
      <p:sp>
        <p:nvSpPr>
          <p:cNvPr id="21" name="Slide Number Placeholder 5">
            <a:extLst>
              <a:ext uri="{FF2B5EF4-FFF2-40B4-BE49-F238E27FC236}">
                <a16:creationId xmlns:a16="http://schemas.microsoft.com/office/drawing/2014/main" id="{0FB41125-F7A3-1341-91E9-F5F5FDF9028B}"/>
              </a:ext>
            </a:extLst>
          </p:cNvPr>
          <p:cNvSpPr>
            <a:spLocks noGrp="1"/>
          </p:cNvSpPr>
          <p:nvPr>
            <p:ph type="sldNum" sz="quarter" idx="4"/>
          </p:nvPr>
        </p:nvSpPr>
        <p:spPr>
          <a:xfrm>
            <a:off x="575100" y="4833818"/>
            <a:ext cx="143629" cy="142876"/>
          </a:xfrm>
          <a:prstGeom prst="rect">
            <a:avLst/>
          </a:prstGeom>
          <a:noFill/>
        </p:spPr>
        <p:txBody>
          <a:bodyPr vert="horz" lIns="0" tIns="0" rIns="0" bIns="0" rtlCol="0" anchor="ctr"/>
          <a:lstStyle>
            <a:lvl1pPr algn="l">
              <a:defRPr sz="375" b="1">
                <a:solidFill>
                  <a:schemeClr val="tx1"/>
                </a:solidFill>
              </a:defRPr>
            </a:lvl1pPr>
          </a:lstStyle>
          <a:p>
            <a:fld id="{0B1617BE-BA58-4B59-88D5-A8C7B239E913}" type="slidenum">
              <a:rPr lang="en-GB" smtClean="0"/>
              <a:pPr/>
              <a:t>‹Nr.›</a:t>
            </a:fld>
            <a:endParaRPr lang="en-GB"/>
          </a:p>
        </p:txBody>
      </p:sp>
      <p:grpSp>
        <p:nvGrpSpPr>
          <p:cNvPr id="22" name="Grupp 21">
            <a:extLst>
              <a:ext uri="{FF2B5EF4-FFF2-40B4-BE49-F238E27FC236}">
                <a16:creationId xmlns:a16="http://schemas.microsoft.com/office/drawing/2014/main" id="{59FC30F8-4181-E84C-A9AE-3AFBF9CCA10B}"/>
              </a:ext>
            </a:extLst>
          </p:cNvPr>
          <p:cNvGrpSpPr/>
          <p:nvPr userDrawn="1"/>
        </p:nvGrpSpPr>
        <p:grpSpPr>
          <a:xfrm>
            <a:off x="7999877" y="4751222"/>
            <a:ext cx="924042" cy="263570"/>
            <a:chOff x="10666502" y="6334963"/>
            <a:chExt cx="1232056" cy="351426"/>
          </a:xfrm>
        </p:grpSpPr>
        <p:grpSp>
          <p:nvGrpSpPr>
            <p:cNvPr id="23" name="Grupp 22">
              <a:extLst>
                <a:ext uri="{FF2B5EF4-FFF2-40B4-BE49-F238E27FC236}">
                  <a16:creationId xmlns:a16="http://schemas.microsoft.com/office/drawing/2014/main" id="{2CCBD054-FF85-0C4A-9EA5-0C2F43248E2E}"/>
                </a:ext>
              </a:extLst>
            </p:cNvPr>
            <p:cNvGrpSpPr/>
            <p:nvPr userDrawn="1"/>
          </p:nvGrpSpPr>
          <p:grpSpPr>
            <a:xfrm>
              <a:off x="10666502" y="6334963"/>
              <a:ext cx="1232056" cy="349818"/>
              <a:chOff x="2157473" y="2311143"/>
              <a:chExt cx="7872351" cy="2235200"/>
            </a:xfrm>
          </p:grpSpPr>
          <p:sp>
            <p:nvSpPr>
              <p:cNvPr id="32" name="Frihandsfigur 31">
                <a:extLst>
                  <a:ext uri="{FF2B5EF4-FFF2-40B4-BE49-F238E27FC236}">
                    <a16:creationId xmlns:a16="http://schemas.microsoft.com/office/drawing/2014/main" id="{11C5AC68-A2F0-A640-96AD-4A1CE4E4DEBF}"/>
                  </a:ext>
                </a:extLst>
              </p:cNvPr>
              <p:cNvSpPr/>
              <p:nvPr userDrawn="1"/>
            </p:nvSpPr>
            <p:spPr>
              <a:xfrm>
                <a:off x="6510021" y="2878457"/>
                <a:ext cx="857249" cy="1104897"/>
              </a:xfrm>
              <a:custGeom>
                <a:avLst/>
                <a:gdLst>
                  <a:gd name="connsiteX0" fmla="*/ 0 w 857250"/>
                  <a:gd name="connsiteY0" fmla="*/ 1106170 h 1104900"/>
                  <a:gd name="connsiteX1" fmla="*/ 0 w 857250"/>
                  <a:gd name="connsiteY1" fmla="*/ 0 h 1104900"/>
                  <a:gd name="connsiteX2" fmla="*/ 862330 w 857250"/>
                  <a:gd name="connsiteY2" fmla="*/ 0 h 1104900"/>
                  <a:gd name="connsiteX3" fmla="*/ 862330 w 857250"/>
                  <a:gd name="connsiteY3" fmla="*/ 128270 h 1104900"/>
                  <a:gd name="connsiteX4" fmla="*/ 161290 w 857250"/>
                  <a:gd name="connsiteY4" fmla="*/ 128270 h 1104900"/>
                  <a:gd name="connsiteX5" fmla="*/ 135890 w 857250"/>
                  <a:gd name="connsiteY5" fmla="*/ 153670 h 1104900"/>
                  <a:gd name="connsiteX6" fmla="*/ 135890 w 857250"/>
                  <a:gd name="connsiteY6" fmla="*/ 499110 h 1104900"/>
                  <a:gd name="connsiteX7" fmla="*/ 161290 w 857250"/>
                  <a:gd name="connsiteY7" fmla="*/ 524510 h 1104900"/>
                  <a:gd name="connsiteX8" fmla="*/ 728345 w 857250"/>
                  <a:gd name="connsiteY8" fmla="*/ 524510 h 1104900"/>
                  <a:gd name="connsiteX9" fmla="*/ 728345 w 857250"/>
                  <a:gd name="connsiteY9" fmla="*/ 643255 h 1104900"/>
                  <a:gd name="connsiteX10" fmla="*/ 161290 w 857250"/>
                  <a:gd name="connsiteY10" fmla="*/ 643255 h 1104900"/>
                  <a:gd name="connsiteX11" fmla="*/ 135890 w 857250"/>
                  <a:gd name="connsiteY11" fmla="*/ 668655 h 1104900"/>
                  <a:gd name="connsiteX12" fmla="*/ 135890 w 857250"/>
                  <a:gd name="connsiteY12" fmla="*/ 110617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0" h="1104900">
                    <a:moveTo>
                      <a:pt x="0" y="1106170"/>
                    </a:moveTo>
                    <a:lnTo>
                      <a:pt x="0" y="0"/>
                    </a:lnTo>
                    <a:lnTo>
                      <a:pt x="862330" y="0"/>
                    </a:lnTo>
                    <a:lnTo>
                      <a:pt x="862330" y="128270"/>
                    </a:lnTo>
                    <a:lnTo>
                      <a:pt x="161290" y="128270"/>
                    </a:lnTo>
                    <a:lnTo>
                      <a:pt x="135890" y="153670"/>
                    </a:lnTo>
                    <a:lnTo>
                      <a:pt x="135890" y="499110"/>
                    </a:lnTo>
                    <a:lnTo>
                      <a:pt x="161290" y="524510"/>
                    </a:lnTo>
                    <a:lnTo>
                      <a:pt x="728345" y="524510"/>
                    </a:lnTo>
                    <a:lnTo>
                      <a:pt x="728345" y="643255"/>
                    </a:lnTo>
                    <a:lnTo>
                      <a:pt x="161290" y="643255"/>
                    </a:lnTo>
                    <a:lnTo>
                      <a:pt x="135890" y="668655"/>
                    </a:lnTo>
                    <a:lnTo>
                      <a:pt x="135890" y="1106170"/>
                    </a:lnTo>
                    <a:close/>
                  </a:path>
                </a:pathLst>
              </a:custGeom>
              <a:solidFill>
                <a:srgbClr val="000100"/>
              </a:solidFill>
              <a:ln w="6350" cap="flat">
                <a:noFill/>
                <a:prstDash val="solid"/>
                <a:miter/>
              </a:ln>
            </p:spPr>
            <p:txBody>
              <a:bodyPr rtlCol="0" anchor="ctr"/>
              <a:lstStyle/>
              <a:p>
                <a:endParaRPr lang="en-GB" sz="1350"/>
              </a:p>
            </p:txBody>
          </p:sp>
          <p:sp>
            <p:nvSpPr>
              <p:cNvPr id="33" name="Frihandsfigur 32">
                <a:extLst>
                  <a:ext uri="{FF2B5EF4-FFF2-40B4-BE49-F238E27FC236}">
                    <a16:creationId xmlns:a16="http://schemas.microsoft.com/office/drawing/2014/main" id="{CBF6538B-AF25-8F4A-9BD6-097B7663549D}"/>
                  </a:ext>
                </a:extLst>
              </p:cNvPr>
              <p:cNvSpPr/>
              <p:nvPr userDrawn="1"/>
            </p:nvSpPr>
            <p:spPr>
              <a:xfrm>
                <a:off x="5033645" y="2878457"/>
                <a:ext cx="1149349" cy="1104897"/>
              </a:xfrm>
              <a:custGeom>
                <a:avLst/>
                <a:gdLst>
                  <a:gd name="connsiteX0" fmla="*/ 1001395 w 1149350"/>
                  <a:gd name="connsiteY0" fmla="*/ 1106170 h 1104900"/>
                  <a:gd name="connsiteX1" fmla="*/ 854710 w 1149350"/>
                  <a:gd name="connsiteY1" fmla="*/ 774065 h 1104900"/>
                  <a:gd name="connsiteX2" fmla="*/ 417830 w 1149350"/>
                  <a:gd name="connsiteY2" fmla="*/ 774065 h 1104900"/>
                  <a:gd name="connsiteX3" fmla="*/ 470535 w 1149350"/>
                  <a:gd name="connsiteY3" fmla="*/ 655320 h 1104900"/>
                  <a:gd name="connsiteX4" fmla="*/ 802640 w 1149350"/>
                  <a:gd name="connsiteY4" fmla="*/ 655320 h 1104900"/>
                  <a:gd name="connsiteX5" fmla="*/ 588645 w 1149350"/>
                  <a:gd name="connsiteY5" fmla="*/ 182880 h 1104900"/>
                  <a:gd name="connsiteX6" fmla="*/ 551180 w 1149350"/>
                  <a:gd name="connsiteY6" fmla="*/ 182880 h 1104900"/>
                  <a:gd name="connsiteX7" fmla="*/ 139700 w 1149350"/>
                  <a:gd name="connsiteY7" fmla="*/ 1106170 h 1104900"/>
                  <a:gd name="connsiteX8" fmla="*/ 0 w 1149350"/>
                  <a:gd name="connsiteY8" fmla="*/ 1106170 h 1104900"/>
                  <a:gd name="connsiteX9" fmla="*/ 509270 w 1149350"/>
                  <a:gd name="connsiteY9" fmla="*/ 0 h 1104900"/>
                  <a:gd name="connsiteX10" fmla="*/ 640715 w 1149350"/>
                  <a:gd name="connsiteY10" fmla="*/ 0 h 1104900"/>
                  <a:gd name="connsiteX11" fmla="*/ 1149350 w 1149350"/>
                  <a:gd name="connsiteY11" fmla="*/ 110617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9350" h="1104900">
                    <a:moveTo>
                      <a:pt x="1001395" y="1106170"/>
                    </a:moveTo>
                    <a:lnTo>
                      <a:pt x="854710" y="774065"/>
                    </a:lnTo>
                    <a:lnTo>
                      <a:pt x="417830" y="774065"/>
                    </a:lnTo>
                    <a:lnTo>
                      <a:pt x="470535" y="655320"/>
                    </a:lnTo>
                    <a:lnTo>
                      <a:pt x="802640" y="655320"/>
                    </a:lnTo>
                    <a:lnTo>
                      <a:pt x="588645" y="182880"/>
                    </a:lnTo>
                    <a:lnTo>
                      <a:pt x="551180" y="182880"/>
                    </a:lnTo>
                    <a:lnTo>
                      <a:pt x="139700" y="1106170"/>
                    </a:lnTo>
                    <a:lnTo>
                      <a:pt x="0" y="1106170"/>
                    </a:lnTo>
                    <a:lnTo>
                      <a:pt x="509270" y="0"/>
                    </a:lnTo>
                    <a:lnTo>
                      <a:pt x="640715" y="0"/>
                    </a:lnTo>
                    <a:lnTo>
                      <a:pt x="1149350" y="1106170"/>
                    </a:lnTo>
                    <a:close/>
                  </a:path>
                </a:pathLst>
              </a:custGeom>
              <a:solidFill>
                <a:srgbClr val="000100"/>
              </a:solidFill>
              <a:ln w="6350" cap="flat">
                <a:noFill/>
                <a:prstDash val="solid"/>
                <a:miter/>
              </a:ln>
            </p:spPr>
            <p:txBody>
              <a:bodyPr rtlCol="0" anchor="ctr"/>
              <a:lstStyle/>
              <a:p>
                <a:endParaRPr lang="en-GB" sz="1350"/>
              </a:p>
            </p:txBody>
          </p:sp>
          <p:sp>
            <p:nvSpPr>
              <p:cNvPr id="34" name="Frihandsfigur 33">
                <a:extLst>
                  <a:ext uri="{FF2B5EF4-FFF2-40B4-BE49-F238E27FC236}">
                    <a16:creationId xmlns:a16="http://schemas.microsoft.com/office/drawing/2014/main" id="{B7D12233-7D9A-BD47-97FB-82574EF273D2}"/>
                  </a:ext>
                </a:extLst>
              </p:cNvPr>
              <p:cNvSpPr/>
              <p:nvPr userDrawn="1"/>
            </p:nvSpPr>
            <p:spPr>
              <a:xfrm>
                <a:off x="7737477" y="2878457"/>
                <a:ext cx="1028701" cy="1104897"/>
              </a:xfrm>
              <a:custGeom>
                <a:avLst/>
                <a:gdLst>
                  <a:gd name="connsiteX0" fmla="*/ 875665 w 1028700"/>
                  <a:gd name="connsiteY0" fmla="*/ 1106170 h 1104900"/>
                  <a:gd name="connsiteX1" fmla="*/ 559435 w 1028700"/>
                  <a:gd name="connsiteY1" fmla="*/ 643890 h 1104900"/>
                  <a:gd name="connsiteX2" fmla="*/ 254000 w 1028700"/>
                  <a:gd name="connsiteY2" fmla="*/ 643890 h 1104900"/>
                  <a:gd name="connsiteX3" fmla="*/ 254000 w 1028700"/>
                  <a:gd name="connsiteY3" fmla="*/ 525145 h 1104900"/>
                  <a:gd name="connsiteX4" fmla="*/ 640715 w 1028700"/>
                  <a:gd name="connsiteY4" fmla="*/ 525145 h 1104900"/>
                  <a:gd name="connsiteX5" fmla="*/ 858520 w 1028700"/>
                  <a:gd name="connsiteY5" fmla="*/ 321310 h 1104900"/>
                  <a:gd name="connsiteX6" fmla="*/ 804545 w 1028700"/>
                  <a:gd name="connsiteY6" fmla="*/ 188595 h 1104900"/>
                  <a:gd name="connsiteX7" fmla="*/ 603885 w 1028700"/>
                  <a:gd name="connsiteY7" fmla="*/ 118745 h 1104900"/>
                  <a:gd name="connsiteX8" fmla="*/ 161290 w 1028700"/>
                  <a:gd name="connsiteY8" fmla="*/ 118745 h 1104900"/>
                  <a:gd name="connsiteX9" fmla="*/ 135890 w 1028700"/>
                  <a:gd name="connsiteY9" fmla="*/ 144145 h 1104900"/>
                  <a:gd name="connsiteX10" fmla="*/ 135890 w 1028700"/>
                  <a:gd name="connsiteY10" fmla="*/ 1106170 h 1104900"/>
                  <a:gd name="connsiteX11" fmla="*/ 0 w 1028700"/>
                  <a:gd name="connsiteY11" fmla="*/ 1106170 h 1104900"/>
                  <a:gd name="connsiteX12" fmla="*/ 0 w 1028700"/>
                  <a:gd name="connsiteY12" fmla="*/ 0 h 1104900"/>
                  <a:gd name="connsiteX13" fmla="*/ 603885 w 1028700"/>
                  <a:gd name="connsiteY13" fmla="*/ 0 h 1104900"/>
                  <a:gd name="connsiteX14" fmla="*/ 909955 w 1028700"/>
                  <a:gd name="connsiteY14" fmla="*/ 109855 h 1104900"/>
                  <a:gd name="connsiteX15" fmla="*/ 993140 w 1028700"/>
                  <a:gd name="connsiteY15" fmla="*/ 322580 h 1104900"/>
                  <a:gd name="connsiteX16" fmla="*/ 739775 w 1028700"/>
                  <a:gd name="connsiteY16" fmla="*/ 625475 h 1104900"/>
                  <a:gd name="connsiteX17" fmla="*/ 710565 w 1028700"/>
                  <a:gd name="connsiteY17" fmla="*/ 632460 h 1104900"/>
                  <a:gd name="connsiteX18" fmla="*/ 701675 w 1028700"/>
                  <a:gd name="connsiteY18" fmla="*/ 634365 h 1104900"/>
                  <a:gd name="connsiteX19" fmla="*/ 1030605 w 1028700"/>
                  <a:gd name="connsiteY19" fmla="*/ 1106170 h 1104900"/>
                  <a:gd name="connsiteX20" fmla="*/ 875665 w 1028700"/>
                  <a:gd name="connsiteY20" fmla="*/ 1106170 h 1104900"/>
                  <a:gd name="connsiteX21" fmla="*/ 875665 w 1028700"/>
                  <a:gd name="connsiteY21" fmla="*/ 110617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28700" h="1104900">
                    <a:moveTo>
                      <a:pt x="875665" y="1106170"/>
                    </a:moveTo>
                    <a:lnTo>
                      <a:pt x="559435" y="643890"/>
                    </a:lnTo>
                    <a:lnTo>
                      <a:pt x="254000" y="643890"/>
                    </a:lnTo>
                    <a:lnTo>
                      <a:pt x="254000" y="525145"/>
                    </a:lnTo>
                    <a:lnTo>
                      <a:pt x="640715" y="525145"/>
                    </a:lnTo>
                    <a:cubicBezTo>
                      <a:pt x="762635" y="525145"/>
                      <a:pt x="858520" y="435610"/>
                      <a:pt x="858520" y="321310"/>
                    </a:cubicBezTo>
                    <a:cubicBezTo>
                      <a:pt x="858520" y="272415"/>
                      <a:pt x="839470" y="225425"/>
                      <a:pt x="804545" y="188595"/>
                    </a:cubicBezTo>
                    <a:cubicBezTo>
                      <a:pt x="742950" y="127000"/>
                      <a:pt x="668655" y="118745"/>
                      <a:pt x="603885" y="118745"/>
                    </a:cubicBezTo>
                    <a:lnTo>
                      <a:pt x="161290" y="118745"/>
                    </a:lnTo>
                    <a:lnTo>
                      <a:pt x="135890" y="144145"/>
                    </a:lnTo>
                    <a:lnTo>
                      <a:pt x="135890" y="1106170"/>
                    </a:lnTo>
                    <a:lnTo>
                      <a:pt x="0" y="1106170"/>
                    </a:lnTo>
                    <a:lnTo>
                      <a:pt x="0" y="0"/>
                    </a:lnTo>
                    <a:lnTo>
                      <a:pt x="603885" y="0"/>
                    </a:lnTo>
                    <a:cubicBezTo>
                      <a:pt x="739140" y="0"/>
                      <a:pt x="839470" y="36195"/>
                      <a:pt x="909955" y="109855"/>
                    </a:cubicBezTo>
                    <a:cubicBezTo>
                      <a:pt x="964565" y="167640"/>
                      <a:pt x="993140" y="241300"/>
                      <a:pt x="993140" y="322580"/>
                    </a:cubicBezTo>
                    <a:cubicBezTo>
                      <a:pt x="993140" y="466725"/>
                      <a:pt x="895985" y="582930"/>
                      <a:pt x="739775" y="625475"/>
                    </a:cubicBezTo>
                    <a:cubicBezTo>
                      <a:pt x="735965" y="626745"/>
                      <a:pt x="726440" y="629285"/>
                      <a:pt x="710565" y="632460"/>
                    </a:cubicBezTo>
                    <a:lnTo>
                      <a:pt x="701675" y="634365"/>
                    </a:lnTo>
                    <a:lnTo>
                      <a:pt x="1030605" y="1106170"/>
                    </a:lnTo>
                    <a:lnTo>
                      <a:pt x="875665" y="1106170"/>
                    </a:lnTo>
                    <a:lnTo>
                      <a:pt x="875665" y="1106170"/>
                    </a:lnTo>
                    <a:close/>
                  </a:path>
                </a:pathLst>
              </a:custGeom>
              <a:solidFill>
                <a:srgbClr val="000100"/>
              </a:solidFill>
              <a:ln w="6350" cap="flat">
                <a:noFill/>
                <a:prstDash val="solid"/>
                <a:miter/>
              </a:ln>
            </p:spPr>
            <p:txBody>
              <a:bodyPr rtlCol="0" anchor="ctr"/>
              <a:lstStyle/>
              <a:p>
                <a:endParaRPr lang="en-GB" sz="1350"/>
              </a:p>
            </p:txBody>
          </p:sp>
          <p:sp>
            <p:nvSpPr>
              <p:cNvPr id="35" name="Frihandsfigur 34">
                <a:extLst>
                  <a:ext uri="{FF2B5EF4-FFF2-40B4-BE49-F238E27FC236}">
                    <a16:creationId xmlns:a16="http://schemas.microsoft.com/office/drawing/2014/main" id="{FE7C6F3F-8770-C94B-AB0A-C59417EE49EA}"/>
                  </a:ext>
                </a:extLst>
              </p:cNvPr>
              <p:cNvSpPr/>
              <p:nvPr userDrawn="1"/>
            </p:nvSpPr>
            <p:spPr>
              <a:xfrm>
                <a:off x="8982076" y="2878457"/>
                <a:ext cx="1047748" cy="1104897"/>
              </a:xfrm>
              <a:custGeom>
                <a:avLst/>
                <a:gdLst>
                  <a:gd name="connsiteX0" fmla="*/ 459105 w 1047750"/>
                  <a:gd name="connsiteY0" fmla="*/ 1106170 h 1104900"/>
                  <a:gd name="connsiteX1" fmla="*/ 459105 w 1047750"/>
                  <a:gd name="connsiteY1" fmla="*/ 654050 h 1104900"/>
                  <a:gd name="connsiteX2" fmla="*/ 0 w 1047750"/>
                  <a:gd name="connsiteY2" fmla="*/ 0 h 1104900"/>
                  <a:gd name="connsiteX3" fmla="*/ 155575 w 1047750"/>
                  <a:gd name="connsiteY3" fmla="*/ 0 h 1104900"/>
                  <a:gd name="connsiteX4" fmla="*/ 511810 w 1047750"/>
                  <a:gd name="connsiteY4" fmla="*/ 512445 h 1104900"/>
                  <a:gd name="connsiteX5" fmla="*/ 542925 w 1047750"/>
                  <a:gd name="connsiteY5" fmla="*/ 512445 h 1104900"/>
                  <a:gd name="connsiteX6" fmla="*/ 897890 w 1047750"/>
                  <a:gd name="connsiteY6" fmla="*/ 0 h 1104900"/>
                  <a:gd name="connsiteX7" fmla="*/ 1053465 w 1047750"/>
                  <a:gd name="connsiteY7" fmla="*/ 0 h 1104900"/>
                  <a:gd name="connsiteX8" fmla="*/ 594360 w 1047750"/>
                  <a:gd name="connsiteY8" fmla="*/ 654050 h 1104900"/>
                  <a:gd name="connsiteX9" fmla="*/ 594360 w 1047750"/>
                  <a:gd name="connsiteY9" fmla="*/ 110617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0" h="1104900">
                    <a:moveTo>
                      <a:pt x="459105" y="1106170"/>
                    </a:moveTo>
                    <a:lnTo>
                      <a:pt x="459105" y="654050"/>
                    </a:lnTo>
                    <a:lnTo>
                      <a:pt x="0" y="0"/>
                    </a:lnTo>
                    <a:lnTo>
                      <a:pt x="155575" y="0"/>
                    </a:lnTo>
                    <a:lnTo>
                      <a:pt x="511810" y="512445"/>
                    </a:lnTo>
                    <a:lnTo>
                      <a:pt x="542925" y="512445"/>
                    </a:lnTo>
                    <a:lnTo>
                      <a:pt x="897890" y="0"/>
                    </a:lnTo>
                    <a:lnTo>
                      <a:pt x="1053465" y="0"/>
                    </a:lnTo>
                    <a:lnTo>
                      <a:pt x="594360" y="654050"/>
                    </a:lnTo>
                    <a:lnTo>
                      <a:pt x="594360" y="1106170"/>
                    </a:lnTo>
                    <a:close/>
                  </a:path>
                </a:pathLst>
              </a:custGeom>
              <a:solidFill>
                <a:srgbClr val="000100"/>
              </a:solidFill>
              <a:ln w="6350" cap="flat">
                <a:noFill/>
                <a:prstDash val="solid"/>
                <a:miter/>
              </a:ln>
            </p:spPr>
            <p:txBody>
              <a:bodyPr rtlCol="0" anchor="ctr"/>
              <a:lstStyle/>
              <a:p>
                <a:endParaRPr lang="en-GB" sz="1350"/>
              </a:p>
            </p:txBody>
          </p:sp>
          <p:sp>
            <p:nvSpPr>
              <p:cNvPr id="36" name="Frihandsfigur 35">
                <a:extLst>
                  <a:ext uri="{FF2B5EF4-FFF2-40B4-BE49-F238E27FC236}">
                    <a16:creationId xmlns:a16="http://schemas.microsoft.com/office/drawing/2014/main" id="{B2BEFFCF-9867-4C41-83BB-DA7460363FCE}"/>
                  </a:ext>
                </a:extLst>
              </p:cNvPr>
              <p:cNvSpPr/>
              <p:nvPr userDrawn="1"/>
            </p:nvSpPr>
            <p:spPr>
              <a:xfrm>
                <a:off x="2157473" y="2311143"/>
                <a:ext cx="2235199" cy="2235200"/>
              </a:xfrm>
              <a:custGeom>
                <a:avLst/>
                <a:gdLst>
                  <a:gd name="connsiteX0" fmla="*/ 1970027 w 2235200"/>
                  <a:gd name="connsiteY0" fmla="*/ 393957 h 2235200"/>
                  <a:gd name="connsiteX1" fmla="*/ 393957 w 2235200"/>
                  <a:gd name="connsiteY1" fmla="*/ 266322 h 2235200"/>
                  <a:gd name="connsiteX2" fmla="*/ 266322 w 2235200"/>
                  <a:gd name="connsiteY2" fmla="*/ 1842392 h 2235200"/>
                  <a:gd name="connsiteX3" fmla="*/ 1842393 w 2235200"/>
                  <a:gd name="connsiteY3" fmla="*/ 1970028 h 2235200"/>
                  <a:gd name="connsiteX4" fmla="*/ 1970027 w 2235200"/>
                  <a:gd name="connsiteY4" fmla="*/ 393957 h 2235200"/>
                  <a:gd name="connsiteX5" fmla="*/ 464442 w 2235200"/>
                  <a:gd name="connsiteY5" fmla="*/ 349507 h 2235200"/>
                  <a:gd name="connsiteX6" fmla="*/ 1777622 w 2235200"/>
                  <a:gd name="connsiteY6" fmla="*/ 354587 h 2235200"/>
                  <a:gd name="connsiteX7" fmla="*/ 160277 w 2235200"/>
                  <a:gd name="connsiteY7" fmla="*/ 802262 h 2235200"/>
                  <a:gd name="connsiteX8" fmla="*/ 464442 w 2235200"/>
                  <a:gd name="connsiteY8" fmla="*/ 349507 h 2235200"/>
                  <a:gd name="connsiteX9" fmla="*/ 349507 w 2235200"/>
                  <a:gd name="connsiteY9" fmla="*/ 1771907 h 2235200"/>
                  <a:gd name="connsiteX10" fmla="*/ 116462 w 2235200"/>
                  <a:gd name="connsiteY10" fmla="*/ 1001652 h 2235200"/>
                  <a:gd name="connsiteX11" fmla="*/ 660657 w 2235200"/>
                  <a:gd name="connsiteY11" fmla="*/ 1279782 h 2235200"/>
                  <a:gd name="connsiteX12" fmla="*/ 748922 w 2235200"/>
                  <a:gd name="connsiteY12" fmla="*/ 1204853 h 2235200"/>
                  <a:gd name="connsiteX13" fmla="*/ 197107 w 2235200"/>
                  <a:gd name="connsiteY13" fmla="*/ 922912 h 2235200"/>
                  <a:gd name="connsiteX14" fmla="*/ 199647 w 2235200"/>
                  <a:gd name="connsiteY14" fmla="*/ 904497 h 2235200"/>
                  <a:gd name="connsiteX15" fmla="*/ 1767462 w 2235200"/>
                  <a:gd name="connsiteY15" fmla="*/ 470157 h 2235200"/>
                  <a:gd name="connsiteX16" fmla="*/ 1779527 w 2235200"/>
                  <a:gd name="connsiteY16" fmla="*/ 484762 h 2235200"/>
                  <a:gd name="connsiteX17" fmla="*/ 775592 w 2235200"/>
                  <a:gd name="connsiteY17" fmla="*/ 1338203 h 2235200"/>
                  <a:gd name="connsiteX18" fmla="*/ 1072137 w 2235200"/>
                  <a:gd name="connsiteY18" fmla="*/ 2125603 h 2235200"/>
                  <a:gd name="connsiteX19" fmla="*/ 349507 w 2235200"/>
                  <a:gd name="connsiteY19" fmla="*/ 1771907 h 2235200"/>
                  <a:gd name="connsiteX20" fmla="*/ 1162943 w 2235200"/>
                  <a:gd name="connsiteY20" fmla="*/ 2058928 h 2235200"/>
                  <a:gd name="connsiteX21" fmla="*/ 903862 w 2235200"/>
                  <a:gd name="connsiteY21" fmla="*/ 1371857 h 2235200"/>
                  <a:gd name="connsiteX22" fmla="*/ 1850012 w 2235200"/>
                  <a:gd name="connsiteY22" fmla="*/ 567947 h 2235200"/>
                  <a:gd name="connsiteX23" fmla="*/ 1862077 w 2235200"/>
                  <a:gd name="connsiteY23" fmla="*/ 582552 h 2235200"/>
                  <a:gd name="connsiteX24" fmla="*/ 1181357 w 2235200"/>
                  <a:gd name="connsiteY24" fmla="*/ 2059562 h 2235200"/>
                  <a:gd name="connsiteX25" fmla="*/ 1162943 w 2235200"/>
                  <a:gd name="connsiteY25" fmla="*/ 2058928 h 2235200"/>
                  <a:gd name="connsiteX26" fmla="*/ 1771907 w 2235200"/>
                  <a:gd name="connsiteY26" fmla="*/ 1886842 h 2235200"/>
                  <a:gd name="connsiteX27" fmla="*/ 1275972 w 2235200"/>
                  <a:gd name="connsiteY27" fmla="*/ 2114173 h 2235200"/>
                  <a:gd name="connsiteX28" fmla="*/ 1978282 w 2235200"/>
                  <a:gd name="connsiteY28" fmla="*/ 590172 h 2235200"/>
                  <a:gd name="connsiteX29" fmla="*/ 1771907 w 2235200"/>
                  <a:gd name="connsiteY29" fmla="*/ 1886842 h 223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235200" h="2235200">
                    <a:moveTo>
                      <a:pt x="1970027" y="393957"/>
                    </a:moveTo>
                    <a:cubicBezTo>
                      <a:pt x="1569977" y="-76578"/>
                      <a:pt x="864492" y="-133728"/>
                      <a:pt x="393957" y="266322"/>
                    </a:cubicBezTo>
                    <a:cubicBezTo>
                      <a:pt x="-76578" y="666372"/>
                      <a:pt x="-133728" y="1371857"/>
                      <a:pt x="266322" y="1842392"/>
                    </a:cubicBezTo>
                    <a:cubicBezTo>
                      <a:pt x="666372" y="2312928"/>
                      <a:pt x="1371857" y="2370078"/>
                      <a:pt x="1842393" y="1970028"/>
                    </a:cubicBezTo>
                    <a:cubicBezTo>
                      <a:pt x="2312927" y="1569978"/>
                      <a:pt x="2370077" y="864492"/>
                      <a:pt x="1970027" y="393957"/>
                    </a:cubicBezTo>
                    <a:close/>
                    <a:moveTo>
                      <a:pt x="464442" y="349507"/>
                    </a:moveTo>
                    <a:cubicBezTo>
                      <a:pt x="847982" y="23117"/>
                      <a:pt x="1407418" y="34547"/>
                      <a:pt x="1777622" y="354587"/>
                    </a:cubicBezTo>
                    <a:lnTo>
                      <a:pt x="160277" y="802262"/>
                    </a:lnTo>
                    <a:cubicBezTo>
                      <a:pt x="216157" y="631447"/>
                      <a:pt x="318392" y="473967"/>
                      <a:pt x="464442" y="349507"/>
                    </a:cubicBezTo>
                    <a:close/>
                    <a:moveTo>
                      <a:pt x="349507" y="1771907"/>
                    </a:moveTo>
                    <a:cubicBezTo>
                      <a:pt x="160912" y="1550292"/>
                      <a:pt x="85347" y="1270257"/>
                      <a:pt x="116462" y="1001652"/>
                    </a:cubicBezTo>
                    <a:lnTo>
                      <a:pt x="660657" y="1279782"/>
                    </a:lnTo>
                    <a:lnTo>
                      <a:pt x="748922" y="1204853"/>
                    </a:lnTo>
                    <a:lnTo>
                      <a:pt x="197107" y="922912"/>
                    </a:lnTo>
                    <a:cubicBezTo>
                      <a:pt x="198377" y="914022"/>
                      <a:pt x="198377" y="913387"/>
                      <a:pt x="199647" y="904497"/>
                    </a:cubicBezTo>
                    <a:lnTo>
                      <a:pt x="1767462" y="470157"/>
                    </a:lnTo>
                    <a:lnTo>
                      <a:pt x="1779527" y="484762"/>
                    </a:lnTo>
                    <a:lnTo>
                      <a:pt x="775592" y="1338203"/>
                    </a:lnTo>
                    <a:lnTo>
                      <a:pt x="1072137" y="2125603"/>
                    </a:lnTo>
                    <a:cubicBezTo>
                      <a:pt x="802262" y="2113537"/>
                      <a:pt x="537467" y="1993523"/>
                      <a:pt x="349507" y="1771907"/>
                    </a:cubicBezTo>
                    <a:close/>
                    <a:moveTo>
                      <a:pt x="1162943" y="2058928"/>
                    </a:moveTo>
                    <a:lnTo>
                      <a:pt x="903862" y="1371857"/>
                    </a:lnTo>
                    <a:lnTo>
                      <a:pt x="1850012" y="567947"/>
                    </a:lnTo>
                    <a:lnTo>
                      <a:pt x="1862077" y="582552"/>
                    </a:lnTo>
                    <a:lnTo>
                      <a:pt x="1181357" y="2059562"/>
                    </a:lnTo>
                    <a:cubicBezTo>
                      <a:pt x="1172468" y="2058928"/>
                      <a:pt x="1171832" y="2058928"/>
                      <a:pt x="1162943" y="2058928"/>
                    </a:cubicBezTo>
                    <a:close/>
                    <a:moveTo>
                      <a:pt x="1771907" y="1886842"/>
                    </a:moveTo>
                    <a:cubicBezTo>
                      <a:pt x="1625222" y="2011303"/>
                      <a:pt x="1453137" y="2086867"/>
                      <a:pt x="1275972" y="2114173"/>
                    </a:cubicBezTo>
                    <a:lnTo>
                      <a:pt x="1978282" y="590172"/>
                    </a:lnTo>
                    <a:cubicBezTo>
                      <a:pt x="2234187" y="1006732"/>
                      <a:pt x="2155447" y="1561087"/>
                      <a:pt x="1771907" y="1886842"/>
                    </a:cubicBezTo>
                    <a:close/>
                  </a:path>
                </a:pathLst>
              </a:custGeom>
              <a:solidFill>
                <a:srgbClr val="000100"/>
              </a:solidFill>
              <a:ln w="6350" cap="flat">
                <a:noFill/>
                <a:prstDash val="solid"/>
                <a:miter/>
              </a:ln>
            </p:spPr>
            <p:txBody>
              <a:bodyPr rtlCol="0" anchor="ctr"/>
              <a:lstStyle/>
              <a:p>
                <a:endParaRPr lang="en-GB" sz="1350"/>
              </a:p>
            </p:txBody>
          </p:sp>
        </p:grpSp>
        <p:sp>
          <p:nvSpPr>
            <p:cNvPr id="24" name="Frihandsfigur 23">
              <a:extLst>
                <a:ext uri="{FF2B5EF4-FFF2-40B4-BE49-F238E27FC236}">
                  <a16:creationId xmlns:a16="http://schemas.microsoft.com/office/drawing/2014/main" id="{6ABE66AA-E40D-1C40-97CF-23FD788A1093}"/>
                </a:ext>
              </a:extLst>
            </p:cNvPr>
            <p:cNvSpPr/>
            <p:nvPr userDrawn="1"/>
          </p:nvSpPr>
          <p:spPr>
            <a:xfrm>
              <a:off x="11348099" y="6652245"/>
              <a:ext cx="34543" cy="33310"/>
            </a:xfrm>
            <a:custGeom>
              <a:avLst/>
              <a:gdLst>
                <a:gd name="connsiteX0" fmla="*/ 25174 w 34543"/>
                <a:gd name="connsiteY0" fmla="*/ 25955 h 33310"/>
                <a:gd name="connsiteX1" fmla="*/ 9369 w 34543"/>
                <a:gd name="connsiteY1" fmla="*/ 25955 h 33310"/>
                <a:gd name="connsiteX2" fmla="*/ 6286 w 34543"/>
                <a:gd name="connsiteY2" fmla="*/ 33311 h 33310"/>
                <a:gd name="connsiteX3" fmla="*/ 0 w 34543"/>
                <a:gd name="connsiteY3" fmla="*/ 33311 h 33310"/>
                <a:gd name="connsiteX4" fmla="*/ 14540 w 34543"/>
                <a:gd name="connsiteY4" fmla="*/ 0 h 33310"/>
                <a:gd name="connsiteX5" fmla="*/ 20053 w 34543"/>
                <a:gd name="connsiteY5" fmla="*/ 0 h 33310"/>
                <a:gd name="connsiteX6" fmla="*/ 34543 w 34543"/>
                <a:gd name="connsiteY6" fmla="*/ 33311 h 33310"/>
                <a:gd name="connsiteX7" fmla="*/ 28297 w 34543"/>
                <a:gd name="connsiteY7" fmla="*/ 33311 h 33310"/>
                <a:gd name="connsiteX8" fmla="*/ 22925 w 34543"/>
                <a:gd name="connsiteY8" fmla="*/ 20544 h 33310"/>
                <a:gd name="connsiteX9" fmla="*/ 17272 w 34543"/>
                <a:gd name="connsiteY9" fmla="*/ 7155 h 33310"/>
                <a:gd name="connsiteX10" fmla="*/ 11658 w 34543"/>
                <a:gd name="connsiteY10" fmla="*/ 20544 h 3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543" h="33310">
                  <a:moveTo>
                    <a:pt x="25174" y="25955"/>
                  </a:moveTo>
                  <a:lnTo>
                    <a:pt x="9369" y="25955"/>
                  </a:lnTo>
                  <a:lnTo>
                    <a:pt x="6286" y="33311"/>
                  </a:lnTo>
                  <a:lnTo>
                    <a:pt x="0" y="33311"/>
                  </a:lnTo>
                  <a:lnTo>
                    <a:pt x="14540" y="0"/>
                  </a:lnTo>
                  <a:lnTo>
                    <a:pt x="20053" y="0"/>
                  </a:lnTo>
                  <a:lnTo>
                    <a:pt x="34543" y="33311"/>
                  </a:lnTo>
                  <a:lnTo>
                    <a:pt x="28297" y="33311"/>
                  </a:lnTo>
                  <a:close/>
                  <a:moveTo>
                    <a:pt x="22925" y="20544"/>
                  </a:moveTo>
                  <a:lnTo>
                    <a:pt x="17272" y="7155"/>
                  </a:lnTo>
                  <a:lnTo>
                    <a:pt x="11658" y="20544"/>
                  </a:lnTo>
                  <a:close/>
                </a:path>
              </a:pathLst>
            </a:custGeom>
            <a:solidFill>
              <a:schemeClr val="tx1"/>
            </a:solidFill>
            <a:ln w="998" cap="flat">
              <a:noFill/>
              <a:prstDash val="solid"/>
              <a:miter/>
            </a:ln>
          </p:spPr>
          <p:txBody>
            <a:bodyPr rtlCol="0" anchor="ctr"/>
            <a:lstStyle/>
            <a:p>
              <a:endParaRPr lang="en-GB" sz="1350">
                <a:solidFill>
                  <a:schemeClr val="tx1"/>
                </a:solidFill>
              </a:endParaRPr>
            </a:p>
          </p:txBody>
        </p:sp>
        <p:sp>
          <p:nvSpPr>
            <p:cNvPr id="25" name="Frihandsfigur 24">
              <a:extLst>
                <a:ext uri="{FF2B5EF4-FFF2-40B4-BE49-F238E27FC236}">
                  <a16:creationId xmlns:a16="http://schemas.microsoft.com/office/drawing/2014/main" id="{9D0AE0EF-9CE9-C946-BE0B-A7162F1185D9}"/>
                </a:ext>
              </a:extLst>
            </p:cNvPr>
            <p:cNvSpPr/>
            <p:nvPr userDrawn="1"/>
          </p:nvSpPr>
          <p:spPr>
            <a:xfrm>
              <a:off x="11399573" y="6652516"/>
              <a:ext cx="23718" cy="33070"/>
            </a:xfrm>
            <a:custGeom>
              <a:avLst/>
              <a:gdLst>
                <a:gd name="connsiteX0" fmla="*/ 5854 w 23718"/>
                <a:gd name="connsiteY0" fmla="*/ 5361 h 33070"/>
                <a:gd name="connsiteX1" fmla="*/ 5854 w 23718"/>
                <a:gd name="connsiteY1" fmla="*/ 14902 h 33070"/>
                <a:gd name="connsiteX2" fmla="*/ 21570 w 23718"/>
                <a:gd name="connsiteY2" fmla="*/ 14902 h 33070"/>
                <a:gd name="connsiteX3" fmla="*/ 21570 w 23718"/>
                <a:gd name="connsiteY3" fmla="*/ 20303 h 33070"/>
                <a:gd name="connsiteX4" fmla="*/ 5854 w 23718"/>
                <a:gd name="connsiteY4" fmla="*/ 20303 h 33070"/>
                <a:gd name="connsiteX5" fmla="*/ 5854 w 23718"/>
                <a:gd name="connsiteY5" fmla="*/ 33070 h 33070"/>
                <a:gd name="connsiteX6" fmla="*/ 0 w 23718"/>
                <a:gd name="connsiteY6" fmla="*/ 33070 h 33070"/>
                <a:gd name="connsiteX7" fmla="*/ 0 w 23718"/>
                <a:gd name="connsiteY7" fmla="*/ 0 h 33070"/>
                <a:gd name="connsiteX8" fmla="*/ 23718 w 23718"/>
                <a:gd name="connsiteY8" fmla="*/ 0 h 33070"/>
                <a:gd name="connsiteX9" fmla="*/ 23718 w 23718"/>
                <a:gd name="connsiteY9" fmla="*/ 5361 h 3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18" h="33070">
                  <a:moveTo>
                    <a:pt x="5854" y="5361"/>
                  </a:moveTo>
                  <a:lnTo>
                    <a:pt x="5854" y="14902"/>
                  </a:lnTo>
                  <a:lnTo>
                    <a:pt x="21570" y="14902"/>
                  </a:lnTo>
                  <a:lnTo>
                    <a:pt x="21570" y="20303"/>
                  </a:lnTo>
                  <a:lnTo>
                    <a:pt x="5854" y="20303"/>
                  </a:lnTo>
                  <a:lnTo>
                    <a:pt x="5854" y="33070"/>
                  </a:lnTo>
                  <a:lnTo>
                    <a:pt x="0" y="33070"/>
                  </a:lnTo>
                  <a:lnTo>
                    <a:pt x="0" y="0"/>
                  </a:lnTo>
                  <a:lnTo>
                    <a:pt x="23718" y="0"/>
                  </a:lnTo>
                  <a:lnTo>
                    <a:pt x="23718" y="5361"/>
                  </a:lnTo>
                  <a:close/>
                </a:path>
              </a:pathLst>
            </a:custGeom>
            <a:solidFill>
              <a:schemeClr val="tx1"/>
            </a:solidFill>
            <a:ln w="998" cap="flat">
              <a:noFill/>
              <a:prstDash val="solid"/>
              <a:miter/>
            </a:ln>
          </p:spPr>
          <p:txBody>
            <a:bodyPr rtlCol="0" anchor="ctr"/>
            <a:lstStyle/>
            <a:p>
              <a:endParaRPr lang="en-GB" sz="1350">
                <a:solidFill>
                  <a:schemeClr val="tx1"/>
                </a:solidFill>
              </a:endParaRPr>
            </a:p>
          </p:txBody>
        </p:sp>
        <p:sp>
          <p:nvSpPr>
            <p:cNvPr id="26" name="Frihandsfigur 25">
              <a:extLst>
                <a:ext uri="{FF2B5EF4-FFF2-40B4-BE49-F238E27FC236}">
                  <a16:creationId xmlns:a16="http://schemas.microsoft.com/office/drawing/2014/main" id="{54193B83-44D4-7641-9485-BBB67BEFCED8}"/>
                </a:ext>
              </a:extLst>
            </p:cNvPr>
            <p:cNvSpPr/>
            <p:nvPr userDrawn="1"/>
          </p:nvSpPr>
          <p:spPr>
            <a:xfrm>
              <a:off x="11465446" y="6652420"/>
              <a:ext cx="25624" cy="33136"/>
            </a:xfrm>
            <a:custGeom>
              <a:avLst/>
              <a:gdLst>
                <a:gd name="connsiteX0" fmla="*/ 0 w 25624"/>
                <a:gd name="connsiteY0" fmla="*/ 16 h 33136"/>
                <a:gd name="connsiteX1" fmla="*/ 12492 w 25624"/>
                <a:gd name="connsiteY1" fmla="*/ 16 h 33136"/>
                <a:gd name="connsiteX2" fmla="*/ 22011 w 25624"/>
                <a:gd name="connsiteY2" fmla="*/ 3183 h 33136"/>
                <a:gd name="connsiteX3" fmla="*/ 25616 w 25624"/>
                <a:gd name="connsiteY3" fmla="*/ 11460 h 33136"/>
                <a:gd name="connsiteX4" fmla="*/ 21760 w 25624"/>
                <a:gd name="connsiteY4" fmla="*/ 20179 h 33136"/>
                <a:gd name="connsiteX5" fmla="*/ 11668 w 25624"/>
                <a:gd name="connsiteY5" fmla="*/ 23446 h 33136"/>
                <a:gd name="connsiteX6" fmla="*/ 5854 w 25624"/>
                <a:gd name="connsiteY6" fmla="*/ 23446 h 33136"/>
                <a:gd name="connsiteX7" fmla="*/ 5854 w 25624"/>
                <a:gd name="connsiteY7" fmla="*/ 33136 h 33136"/>
                <a:gd name="connsiteX8" fmla="*/ 0 w 25624"/>
                <a:gd name="connsiteY8" fmla="*/ 33136 h 33136"/>
                <a:gd name="connsiteX9" fmla="*/ 5854 w 25624"/>
                <a:gd name="connsiteY9" fmla="*/ 18054 h 33136"/>
                <a:gd name="connsiteX10" fmla="*/ 12301 w 25624"/>
                <a:gd name="connsiteY10" fmla="*/ 18054 h 33136"/>
                <a:gd name="connsiteX11" fmla="*/ 17734 w 25624"/>
                <a:gd name="connsiteY11" fmla="*/ 16230 h 33136"/>
                <a:gd name="connsiteX12" fmla="*/ 19832 w 25624"/>
                <a:gd name="connsiteY12" fmla="*/ 11470 h 33136"/>
                <a:gd name="connsiteX13" fmla="*/ 17754 w 25624"/>
                <a:gd name="connsiteY13" fmla="*/ 7091 h 33136"/>
                <a:gd name="connsiteX14" fmla="*/ 12321 w 25624"/>
                <a:gd name="connsiteY14" fmla="*/ 5437 h 33136"/>
                <a:gd name="connsiteX15" fmla="*/ 5874 w 25624"/>
                <a:gd name="connsiteY15" fmla="*/ 5437 h 33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624" h="33136">
                  <a:moveTo>
                    <a:pt x="0" y="16"/>
                  </a:moveTo>
                  <a:lnTo>
                    <a:pt x="12492" y="16"/>
                  </a:lnTo>
                  <a:cubicBezTo>
                    <a:pt x="15946" y="-149"/>
                    <a:pt x="19340" y="980"/>
                    <a:pt x="22011" y="3183"/>
                  </a:cubicBezTo>
                  <a:cubicBezTo>
                    <a:pt x="24401" y="5261"/>
                    <a:pt x="25717" y="8300"/>
                    <a:pt x="25616" y="11460"/>
                  </a:cubicBezTo>
                  <a:cubicBezTo>
                    <a:pt x="25747" y="14804"/>
                    <a:pt x="24321" y="18021"/>
                    <a:pt x="21760" y="20179"/>
                  </a:cubicBezTo>
                  <a:cubicBezTo>
                    <a:pt x="19260" y="22350"/>
                    <a:pt x="15896" y="23439"/>
                    <a:pt x="11668" y="23446"/>
                  </a:cubicBezTo>
                  <a:lnTo>
                    <a:pt x="5854" y="23446"/>
                  </a:lnTo>
                  <a:lnTo>
                    <a:pt x="5854" y="33136"/>
                  </a:lnTo>
                  <a:lnTo>
                    <a:pt x="0" y="33136"/>
                  </a:lnTo>
                  <a:close/>
                  <a:moveTo>
                    <a:pt x="5854" y="18054"/>
                  </a:moveTo>
                  <a:lnTo>
                    <a:pt x="12301" y="18054"/>
                  </a:lnTo>
                  <a:cubicBezTo>
                    <a:pt x="14279" y="18144"/>
                    <a:pt x="16217" y="17494"/>
                    <a:pt x="17734" y="16230"/>
                  </a:cubicBezTo>
                  <a:cubicBezTo>
                    <a:pt x="19109" y="15036"/>
                    <a:pt x="19883" y="13290"/>
                    <a:pt x="19832" y="11470"/>
                  </a:cubicBezTo>
                  <a:cubicBezTo>
                    <a:pt x="19883" y="9763"/>
                    <a:pt x="19109" y="8134"/>
                    <a:pt x="17754" y="7091"/>
                  </a:cubicBezTo>
                  <a:cubicBezTo>
                    <a:pt x="16187" y="5928"/>
                    <a:pt x="14269" y="5344"/>
                    <a:pt x="12321" y="5437"/>
                  </a:cubicBezTo>
                  <a:lnTo>
                    <a:pt x="5874" y="5437"/>
                  </a:lnTo>
                  <a:close/>
                </a:path>
              </a:pathLst>
            </a:custGeom>
            <a:solidFill>
              <a:schemeClr val="tx1"/>
            </a:solidFill>
            <a:ln w="998" cap="flat">
              <a:noFill/>
              <a:prstDash val="solid"/>
              <a:miter/>
            </a:ln>
          </p:spPr>
          <p:txBody>
            <a:bodyPr rtlCol="0" anchor="ctr"/>
            <a:lstStyle/>
            <a:p>
              <a:endParaRPr lang="en-GB" sz="1350">
                <a:solidFill>
                  <a:schemeClr val="tx1"/>
                </a:solidFill>
              </a:endParaRPr>
            </a:p>
          </p:txBody>
        </p:sp>
        <p:sp>
          <p:nvSpPr>
            <p:cNvPr id="27" name="Frihandsfigur 26">
              <a:extLst>
                <a:ext uri="{FF2B5EF4-FFF2-40B4-BE49-F238E27FC236}">
                  <a16:creationId xmlns:a16="http://schemas.microsoft.com/office/drawing/2014/main" id="{C6C9AD08-881A-4C47-9912-0F78770FA2AE}"/>
                </a:ext>
              </a:extLst>
            </p:cNvPr>
            <p:cNvSpPr/>
            <p:nvPr userDrawn="1"/>
          </p:nvSpPr>
          <p:spPr>
            <a:xfrm>
              <a:off x="11506364" y="6642014"/>
              <a:ext cx="34727" cy="44375"/>
            </a:xfrm>
            <a:custGeom>
              <a:avLst/>
              <a:gdLst>
                <a:gd name="connsiteX0" fmla="*/ 5023 w 34727"/>
                <a:gd name="connsiteY0" fmla="*/ 14862 h 44375"/>
                <a:gd name="connsiteX1" fmla="*/ 29575 w 34727"/>
                <a:gd name="connsiteY1" fmla="*/ 14732 h 44375"/>
                <a:gd name="connsiteX2" fmla="*/ 29705 w 34727"/>
                <a:gd name="connsiteY2" fmla="*/ 39237 h 44375"/>
                <a:gd name="connsiteX3" fmla="*/ 5153 w 34727"/>
                <a:gd name="connsiteY3" fmla="*/ 39365 h 44375"/>
                <a:gd name="connsiteX4" fmla="*/ 2 w 34727"/>
                <a:gd name="connsiteY4" fmla="*/ 27028 h 44375"/>
                <a:gd name="connsiteX5" fmla="*/ 5023 w 34727"/>
                <a:gd name="connsiteY5" fmla="*/ 14862 h 44375"/>
                <a:gd name="connsiteX6" fmla="*/ 17314 w 34727"/>
                <a:gd name="connsiteY6" fmla="*/ 38813 h 44375"/>
                <a:gd name="connsiteX7" fmla="*/ 25347 w 34727"/>
                <a:gd name="connsiteY7" fmla="*/ 35405 h 44375"/>
                <a:gd name="connsiteX8" fmla="*/ 25347 w 34727"/>
                <a:gd name="connsiteY8" fmla="*/ 18700 h 44375"/>
                <a:gd name="connsiteX9" fmla="*/ 9602 w 34727"/>
                <a:gd name="connsiteY9" fmla="*/ 18298 h 44375"/>
                <a:gd name="connsiteX10" fmla="*/ 9200 w 34727"/>
                <a:gd name="connsiteY10" fmla="*/ 18700 h 44375"/>
                <a:gd name="connsiteX11" fmla="*/ 9200 w 34727"/>
                <a:gd name="connsiteY11" fmla="*/ 35405 h 44375"/>
                <a:gd name="connsiteX12" fmla="*/ 17344 w 34727"/>
                <a:gd name="connsiteY12" fmla="*/ 38763 h 44375"/>
                <a:gd name="connsiteX13" fmla="*/ 12142 w 34727"/>
                <a:gd name="connsiteY13" fmla="*/ 50 h 44375"/>
                <a:gd name="connsiteX14" fmla="*/ 14683 w 34727"/>
                <a:gd name="connsiteY14" fmla="*/ 1052 h 44375"/>
                <a:gd name="connsiteX15" fmla="*/ 14733 w 34727"/>
                <a:gd name="connsiteY15" fmla="*/ 5871 h 44375"/>
                <a:gd name="connsiteX16" fmla="*/ 14683 w 34727"/>
                <a:gd name="connsiteY16" fmla="*/ 5923 h 44375"/>
                <a:gd name="connsiteX17" fmla="*/ 9662 w 34727"/>
                <a:gd name="connsiteY17" fmla="*/ 5923 h 44375"/>
                <a:gd name="connsiteX18" fmla="*/ 9521 w 34727"/>
                <a:gd name="connsiteY18" fmla="*/ 1192 h 44375"/>
                <a:gd name="connsiteX19" fmla="*/ 9662 w 34727"/>
                <a:gd name="connsiteY19" fmla="*/ 1052 h 44375"/>
                <a:gd name="connsiteX20" fmla="*/ 12172 w 34727"/>
                <a:gd name="connsiteY20" fmla="*/ 0 h 44375"/>
                <a:gd name="connsiteX21" fmla="*/ 22294 w 34727"/>
                <a:gd name="connsiteY21" fmla="*/ 50 h 44375"/>
                <a:gd name="connsiteX22" fmla="*/ 24835 w 34727"/>
                <a:gd name="connsiteY22" fmla="*/ 1052 h 44375"/>
                <a:gd name="connsiteX23" fmla="*/ 24885 w 34727"/>
                <a:gd name="connsiteY23" fmla="*/ 5871 h 44375"/>
                <a:gd name="connsiteX24" fmla="*/ 24835 w 34727"/>
                <a:gd name="connsiteY24" fmla="*/ 5923 h 44375"/>
                <a:gd name="connsiteX25" fmla="*/ 19814 w 34727"/>
                <a:gd name="connsiteY25" fmla="*/ 5923 h 44375"/>
                <a:gd name="connsiteX26" fmla="*/ 19674 w 34727"/>
                <a:gd name="connsiteY26" fmla="*/ 1192 h 44375"/>
                <a:gd name="connsiteX27" fmla="*/ 19814 w 34727"/>
                <a:gd name="connsiteY27" fmla="*/ 1052 h 44375"/>
                <a:gd name="connsiteX28" fmla="*/ 22325 w 34727"/>
                <a:gd name="connsiteY28" fmla="*/ 0 h 4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27" h="44375">
                  <a:moveTo>
                    <a:pt x="5023" y="14862"/>
                  </a:moveTo>
                  <a:cubicBezTo>
                    <a:pt x="11771" y="8059"/>
                    <a:pt x="22756" y="8002"/>
                    <a:pt x="29575" y="14732"/>
                  </a:cubicBezTo>
                  <a:cubicBezTo>
                    <a:pt x="36393" y="21464"/>
                    <a:pt x="36453" y="32434"/>
                    <a:pt x="29705" y="39237"/>
                  </a:cubicBezTo>
                  <a:cubicBezTo>
                    <a:pt x="22957" y="46038"/>
                    <a:pt x="11972" y="46096"/>
                    <a:pt x="5153" y="39365"/>
                  </a:cubicBezTo>
                  <a:cubicBezTo>
                    <a:pt x="1850" y="36106"/>
                    <a:pt x="-8" y="31662"/>
                    <a:pt x="2" y="27028"/>
                  </a:cubicBezTo>
                  <a:cubicBezTo>
                    <a:pt x="-68" y="22456"/>
                    <a:pt x="1749" y="18056"/>
                    <a:pt x="5023" y="14862"/>
                  </a:cubicBezTo>
                  <a:close/>
                  <a:moveTo>
                    <a:pt x="17314" y="38813"/>
                  </a:moveTo>
                  <a:cubicBezTo>
                    <a:pt x="20357" y="38869"/>
                    <a:pt x="23279" y="37630"/>
                    <a:pt x="25347" y="35405"/>
                  </a:cubicBezTo>
                  <a:cubicBezTo>
                    <a:pt x="29705" y="30687"/>
                    <a:pt x="29705" y="23418"/>
                    <a:pt x="25347" y="18700"/>
                  </a:cubicBezTo>
                  <a:cubicBezTo>
                    <a:pt x="21110" y="14250"/>
                    <a:pt x="14060" y="14070"/>
                    <a:pt x="9602" y="18298"/>
                  </a:cubicBezTo>
                  <a:cubicBezTo>
                    <a:pt x="9461" y="18428"/>
                    <a:pt x="9331" y="18563"/>
                    <a:pt x="9200" y="18700"/>
                  </a:cubicBezTo>
                  <a:cubicBezTo>
                    <a:pt x="4842" y="23418"/>
                    <a:pt x="4842" y="30687"/>
                    <a:pt x="9200" y="35405"/>
                  </a:cubicBezTo>
                  <a:cubicBezTo>
                    <a:pt x="11309" y="37636"/>
                    <a:pt x="14271" y="38858"/>
                    <a:pt x="17344" y="38763"/>
                  </a:cubicBezTo>
                  <a:close/>
                  <a:moveTo>
                    <a:pt x="12142" y="50"/>
                  </a:moveTo>
                  <a:cubicBezTo>
                    <a:pt x="13086" y="34"/>
                    <a:pt x="14000" y="395"/>
                    <a:pt x="14683" y="1052"/>
                  </a:cubicBezTo>
                  <a:cubicBezTo>
                    <a:pt x="16028" y="2368"/>
                    <a:pt x="16059" y="4526"/>
                    <a:pt x="14733" y="5871"/>
                  </a:cubicBezTo>
                  <a:cubicBezTo>
                    <a:pt x="14713" y="5889"/>
                    <a:pt x="14703" y="5906"/>
                    <a:pt x="14683" y="5923"/>
                  </a:cubicBezTo>
                  <a:cubicBezTo>
                    <a:pt x="13257" y="7212"/>
                    <a:pt x="11088" y="7212"/>
                    <a:pt x="9662" y="5923"/>
                  </a:cubicBezTo>
                  <a:cubicBezTo>
                    <a:pt x="8317" y="4654"/>
                    <a:pt x="8256" y="2536"/>
                    <a:pt x="9521" y="1192"/>
                  </a:cubicBezTo>
                  <a:cubicBezTo>
                    <a:pt x="9572" y="1143"/>
                    <a:pt x="9612" y="1097"/>
                    <a:pt x="9662" y="1052"/>
                  </a:cubicBezTo>
                  <a:cubicBezTo>
                    <a:pt x="10325" y="385"/>
                    <a:pt x="11229" y="6"/>
                    <a:pt x="12172" y="0"/>
                  </a:cubicBezTo>
                  <a:close/>
                  <a:moveTo>
                    <a:pt x="22294" y="50"/>
                  </a:moveTo>
                  <a:cubicBezTo>
                    <a:pt x="23238" y="36"/>
                    <a:pt x="24152" y="397"/>
                    <a:pt x="24835" y="1052"/>
                  </a:cubicBezTo>
                  <a:cubicBezTo>
                    <a:pt x="26181" y="2368"/>
                    <a:pt x="26211" y="4526"/>
                    <a:pt x="24885" y="5871"/>
                  </a:cubicBezTo>
                  <a:cubicBezTo>
                    <a:pt x="24865" y="5889"/>
                    <a:pt x="24855" y="5906"/>
                    <a:pt x="24835" y="5923"/>
                  </a:cubicBezTo>
                  <a:cubicBezTo>
                    <a:pt x="23409" y="7212"/>
                    <a:pt x="21240" y="7212"/>
                    <a:pt x="19814" y="5923"/>
                  </a:cubicBezTo>
                  <a:cubicBezTo>
                    <a:pt x="18469" y="4654"/>
                    <a:pt x="18408" y="2536"/>
                    <a:pt x="19674" y="1192"/>
                  </a:cubicBezTo>
                  <a:cubicBezTo>
                    <a:pt x="19724" y="1143"/>
                    <a:pt x="19764" y="1097"/>
                    <a:pt x="19814" y="1052"/>
                  </a:cubicBezTo>
                  <a:cubicBezTo>
                    <a:pt x="20477" y="385"/>
                    <a:pt x="21381" y="6"/>
                    <a:pt x="22325" y="0"/>
                  </a:cubicBezTo>
                  <a:close/>
                </a:path>
              </a:pathLst>
            </a:custGeom>
            <a:solidFill>
              <a:schemeClr val="tx1"/>
            </a:solidFill>
            <a:ln w="998" cap="flat">
              <a:noFill/>
              <a:prstDash val="solid"/>
              <a:miter/>
            </a:ln>
          </p:spPr>
          <p:txBody>
            <a:bodyPr rtlCol="0" anchor="ctr"/>
            <a:lstStyle/>
            <a:p>
              <a:endParaRPr lang="en-GB" sz="1350">
                <a:solidFill>
                  <a:schemeClr val="tx1"/>
                </a:solidFill>
              </a:endParaRPr>
            </a:p>
          </p:txBody>
        </p:sp>
        <p:sp>
          <p:nvSpPr>
            <p:cNvPr id="28" name="Frihandsfigur 27">
              <a:extLst>
                <a:ext uri="{FF2B5EF4-FFF2-40B4-BE49-F238E27FC236}">
                  <a16:creationId xmlns:a16="http://schemas.microsoft.com/office/drawing/2014/main" id="{C544AA11-14FB-E94D-BF71-4F87855C0013}"/>
                </a:ext>
              </a:extLst>
            </p:cNvPr>
            <p:cNvSpPr/>
            <p:nvPr userDrawn="1"/>
          </p:nvSpPr>
          <p:spPr>
            <a:xfrm>
              <a:off x="11552739" y="6652436"/>
              <a:ext cx="32555" cy="33120"/>
            </a:xfrm>
            <a:custGeom>
              <a:avLst/>
              <a:gdLst>
                <a:gd name="connsiteX0" fmla="*/ 32555 w 32555"/>
                <a:gd name="connsiteY0" fmla="*/ 0 h 33120"/>
                <a:gd name="connsiteX1" fmla="*/ 19280 w 32555"/>
                <a:gd name="connsiteY1" fmla="*/ 21967 h 33120"/>
                <a:gd name="connsiteX2" fmla="*/ 19280 w 32555"/>
                <a:gd name="connsiteY2" fmla="*/ 33120 h 33120"/>
                <a:gd name="connsiteX3" fmla="*/ 13325 w 32555"/>
                <a:gd name="connsiteY3" fmla="*/ 33120 h 33120"/>
                <a:gd name="connsiteX4" fmla="*/ 13325 w 32555"/>
                <a:gd name="connsiteY4" fmla="*/ 21967 h 33120"/>
                <a:gd name="connsiteX5" fmla="*/ 0 w 32555"/>
                <a:gd name="connsiteY5" fmla="*/ 0 h 33120"/>
                <a:gd name="connsiteX6" fmla="*/ 6497 w 32555"/>
                <a:gd name="connsiteY6" fmla="*/ 0 h 33120"/>
                <a:gd name="connsiteX7" fmla="*/ 16257 w 32555"/>
                <a:gd name="connsiteY7" fmla="*/ 16215 h 33120"/>
                <a:gd name="connsiteX8" fmla="*/ 26058 w 32555"/>
                <a:gd name="connsiteY8" fmla="*/ 0 h 3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55" h="33120">
                  <a:moveTo>
                    <a:pt x="32555" y="0"/>
                  </a:moveTo>
                  <a:lnTo>
                    <a:pt x="19280" y="21967"/>
                  </a:lnTo>
                  <a:lnTo>
                    <a:pt x="19280" y="33120"/>
                  </a:lnTo>
                  <a:lnTo>
                    <a:pt x="13325" y="33120"/>
                  </a:lnTo>
                  <a:lnTo>
                    <a:pt x="13325" y="21967"/>
                  </a:lnTo>
                  <a:lnTo>
                    <a:pt x="0" y="0"/>
                  </a:lnTo>
                  <a:lnTo>
                    <a:pt x="6497" y="0"/>
                  </a:lnTo>
                  <a:lnTo>
                    <a:pt x="16257" y="16215"/>
                  </a:lnTo>
                  <a:lnTo>
                    <a:pt x="26058" y="0"/>
                  </a:lnTo>
                  <a:close/>
                </a:path>
              </a:pathLst>
            </a:custGeom>
            <a:solidFill>
              <a:schemeClr val="tx1"/>
            </a:solidFill>
            <a:ln w="998" cap="flat">
              <a:noFill/>
              <a:prstDash val="solid"/>
              <a:miter/>
            </a:ln>
          </p:spPr>
          <p:txBody>
            <a:bodyPr rtlCol="0" anchor="ctr"/>
            <a:lstStyle/>
            <a:p>
              <a:endParaRPr lang="en-GB" sz="1350">
                <a:solidFill>
                  <a:schemeClr val="tx1"/>
                </a:solidFill>
              </a:endParaRPr>
            </a:p>
          </p:txBody>
        </p:sp>
        <p:sp>
          <p:nvSpPr>
            <p:cNvPr id="29" name="Frihandsfigur 28">
              <a:extLst>
                <a:ext uri="{FF2B5EF4-FFF2-40B4-BE49-F238E27FC236}">
                  <a16:creationId xmlns:a16="http://schemas.microsoft.com/office/drawing/2014/main" id="{0DFB4546-57F4-4546-83C6-F39D5ADCE8B7}"/>
                </a:ext>
              </a:extLst>
            </p:cNvPr>
            <p:cNvSpPr/>
            <p:nvPr userDrawn="1"/>
          </p:nvSpPr>
          <p:spPr>
            <a:xfrm>
              <a:off x="11601763" y="6652472"/>
              <a:ext cx="28518" cy="33114"/>
            </a:xfrm>
            <a:custGeom>
              <a:avLst/>
              <a:gdLst>
                <a:gd name="connsiteX0" fmla="*/ 12371 w 28518"/>
                <a:gd name="connsiteY0" fmla="*/ 22171 h 33114"/>
                <a:gd name="connsiteX1" fmla="*/ 5824 w 28518"/>
                <a:gd name="connsiteY1" fmla="*/ 22171 h 33114"/>
                <a:gd name="connsiteX2" fmla="*/ 5824 w 28518"/>
                <a:gd name="connsiteY2" fmla="*/ 33084 h 33114"/>
                <a:gd name="connsiteX3" fmla="*/ 0 w 28518"/>
                <a:gd name="connsiteY3" fmla="*/ 33084 h 33114"/>
                <a:gd name="connsiteX4" fmla="*/ 0 w 28518"/>
                <a:gd name="connsiteY4" fmla="*/ 14 h 33114"/>
                <a:gd name="connsiteX5" fmla="*/ 13617 w 28518"/>
                <a:gd name="connsiteY5" fmla="*/ 14 h 33114"/>
                <a:gd name="connsiteX6" fmla="*/ 22885 w 28518"/>
                <a:gd name="connsiteY6" fmla="*/ 3080 h 33114"/>
                <a:gd name="connsiteX7" fmla="*/ 26500 w 28518"/>
                <a:gd name="connsiteY7" fmla="*/ 11097 h 33114"/>
                <a:gd name="connsiteX8" fmla="*/ 24492 w 28518"/>
                <a:gd name="connsiteY8" fmla="*/ 17481 h 33114"/>
                <a:gd name="connsiteX9" fmla="*/ 18908 w 28518"/>
                <a:gd name="connsiteY9" fmla="*/ 21369 h 33114"/>
                <a:gd name="connsiteX10" fmla="*/ 28518 w 28518"/>
                <a:gd name="connsiteY10" fmla="*/ 33114 h 33114"/>
                <a:gd name="connsiteX11" fmla="*/ 21399 w 28518"/>
                <a:gd name="connsiteY11" fmla="*/ 33114 h 33114"/>
                <a:gd name="connsiteX12" fmla="*/ 5824 w 28518"/>
                <a:gd name="connsiteY12" fmla="*/ 16769 h 33114"/>
                <a:gd name="connsiteX13" fmla="*/ 13396 w 28518"/>
                <a:gd name="connsiteY13" fmla="*/ 16769 h 33114"/>
                <a:gd name="connsiteX14" fmla="*/ 18657 w 28518"/>
                <a:gd name="connsiteY14" fmla="*/ 15206 h 33114"/>
                <a:gd name="connsiteX15" fmla="*/ 19632 w 28518"/>
                <a:gd name="connsiteY15" fmla="*/ 7900 h 33114"/>
                <a:gd name="connsiteX16" fmla="*/ 18657 w 28518"/>
                <a:gd name="connsiteY16" fmla="*/ 6928 h 33114"/>
                <a:gd name="connsiteX17" fmla="*/ 13396 w 28518"/>
                <a:gd name="connsiteY17" fmla="*/ 5375 h 33114"/>
                <a:gd name="connsiteX18" fmla="*/ 5824 w 28518"/>
                <a:gd name="connsiteY18" fmla="*/ 5375 h 3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18" h="33114">
                  <a:moveTo>
                    <a:pt x="12371" y="22171"/>
                  </a:moveTo>
                  <a:lnTo>
                    <a:pt x="5824" y="22171"/>
                  </a:lnTo>
                  <a:lnTo>
                    <a:pt x="5824" y="33084"/>
                  </a:lnTo>
                  <a:lnTo>
                    <a:pt x="0" y="33084"/>
                  </a:lnTo>
                  <a:lnTo>
                    <a:pt x="0" y="14"/>
                  </a:lnTo>
                  <a:lnTo>
                    <a:pt x="13617" y="14"/>
                  </a:lnTo>
                  <a:cubicBezTo>
                    <a:pt x="16981" y="-137"/>
                    <a:pt x="20274" y="955"/>
                    <a:pt x="22885" y="3080"/>
                  </a:cubicBezTo>
                  <a:cubicBezTo>
                    <a:pt x="25265" y="5054"/>
                    <a:pt x="26600" y="8012"/>
                    <a:pt x="26500" y="11097"/>
                  </a:cubicBezTo>
                  <a:cubicBezTo>
                    <a:pt x="26550" y="13388"/>
                    <a:pt x="25847" y="15632"/>
                    <a:pt x="24492" y="17481"/>
                  </a:cubicBezTo>
                  <a:cubicBezTo>
                    <a:pt x="23086" y="19335"/>
                    <a:pt x="21138" y="20697"/>
                    <a:pt x="18908" y="21369"/>
                  </a:cubicBezTo>
                  <a:lnTo>
                    <a:pt x="28518" y="33114"/>
                  </a:lnTo>
                  <a:lnTo>
                    <a:pt x="21399" y="33114"/>
                  </a:lnTo>
                  <a:close/>
                  <a:moveTo>
                    <a:pt x="5824" y="16769"/>
                  </a:moveTo>
                  <a:lnTo>
                    <a:pt x="13396" y="16769"/>
                  </a:lnTo>
                  <a:cubicBezTo>
                    <a:pt x="15273" y="16850"/>
                    <a:pt x="17131" y="16298"/>
                    <a:pt x="18657" y="15206"/>
                  </a:cubicBezTo>
                  <a:cubicBezTo>
                    <a:pt x="20947" y="13457"/>
                    <a:pt x="21389" y="10186"/>
                    <a:pt x="19632" y="7900"/>
                  </a:cubicBezTo>
                  <a:cubicBezTo>
                    <a:pt x="19350" y="7535"/>
                    <a:pt x="19019" y="7208"/>
                    <a:pt x="18657" y="6928"/>
                  </a:cubicBezTo>
                  <a:cubicBezTo>
                    <a:pt x="17131" y="5839"/>
                    <a:pt x="15273" y="5292"/>
                    <a:pt x="13396" y="5375"/>
                  </a:cubicBezTo>
                  <a:lnTo>
                    <a:pt x="5824" y="5375"/>
                  </a:lnTo>
                  <a:close/>
                </a:path>
              </a:pathLst>
            </a:custGeom>
            <a:solidFill>
              <a:schemeClr val="tx1"/>
            </a:solidFill>
            <a:ln w="998" cap="flat">
              <a:noFill/>
              <a:prstDash val="solid"/>
              <a:miter/>
            </a:ln>
          </p:spPr>
          <p:txBody>
            <a:bodyPr rtlCol="0" anchor="ctr"/>
            <a:lstStyle/>
            <a:p>
              <a:endParaRPr lang="en-GB" sz="1350">
                <a:solidFill>
                  <a:schemeClr val="tx1"/>
                </a:solidFill>
              </a:endParaRPr>
            </a:p>
          </p:txBody>
        </p:sp>
        <p:sp>
          <p:nvSpPr>
            <p:cNvPr id="30" name="Frihandsfigur 29">
              <a:extLst>
                <a:ext uri="{FF2B5EF4-FFF2-40B4-BE49-F238E27FC236}">
                  <a16:creationId xmlns:a16="http://schemas.microsoft.com/office/drawing/2014/main" id="{8648B737-34B0-C642-93BC-7F06C3FD14EB}"/>
                </a:ext>
              </a:extLst>
            </p:cNvPr>
            <p:cNvSpPr/>
            <p:nvPr userDrawn="1"/>
          </p:nvSpPr>
          <p:spPr>
            <a:xfrm>
              <a:off x="11643305" y="6652436"/>
              <a:ext cx="32555" cy="33120"/>
            </a:xfrm>
            <a:custGeom>
              <a:avLst/>
              <a:gdLst>
                <a:gd name="connsiteX0" fmla="*/ 32555 w 32555"/>
                <a:gd name="connsiteY0" fmla="*/ 0 h 33120"/>
                <a:gd name="connsiteX1" fmla="*/ 19280 w 32555"/>
                <a:gd name="connsiteY1" fmla="*/ 21967 h 33120"/>
                <a:gd name="connsiteX2" fmla="*/ 19280 w 32555"/>
                <a:gd name="connsiteY2" fmla="*/ 33120 h 33120"/>
                <a:gd name="connsiteX3" fmla="*/ 13325 w 32555"/>
                <a:gd name="connsiteY3" fmla="*/ 33120 h 33120"/>
                <a:gd name="connsiteX4" fmla="*/ 13325 w 32555"/>
                <a:gd name="connsiteY4" fmla="*/ 21967 h 33120"/>
                <a:gd name="connsiteX5" fmla="*/ 0 w 32555"/>
                <a:gd name="connsiteY5" fmla="*/ 0 h 33120"/>
                <a:gd name="connsiteX6" fmla="*/ 6497 w 32555"/>
                <a:gd name="connsiteY6" fmla="*/ 0 h 33120"/>
                <a:gd name="connsiteX7" fmla="*/ 16248 w 32555"/>
                <a:gd name="connsiteY7" fmla="*/ 16215 h 33120"/>
                <a:gd name="connsiteX8" fmla="*/ 26058 w 32555"/>
                <a:gd name="connsiteY8" fmla="*/ 0 h 3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55" h="33120">
                  <a:moveTo>
                    <a:pt x="32555" y="0"/>
                  </a:moveTo>
                  <a:lnTo>
                    <a:pt x="19280" y="21967"/>
                  </a:lnTo>
                  <a:lnTo>
                    <a:pt x="19280" y="33120"/>
                  </a:lnTo>
                  <a:lnTo>
                    <a:pt x="13325" y="33120"/>
                  </a:lnTo>
                  <a:lnTo>
                    <a:pt x="13325" y="21967"/>
                  </a:lnTo>
                  <a:lnTo>
                    <a:pt x="0" y="0"/>
                  </a:lnTo>
                  <a:lnTo>
                    <a:pt x="6497" y="0"/>
                  </a:lnTo>
                  <a:lnTo>
                    <a:pt x="16248" y="16215"/>
                  </a:lnTo>
                  <a:lnTo>
                    <a:pt x="26058" y="0"/>
                  </a:lnTo>
                  <a:close/>
                </a:path>
              </a:pathLst>
            </a:custGeom>
            <a:solidFill>
              <a:schemeClr val="tx1"/>
            </a:solidFill>
            <a:ln w="998" cap="flat">
              <a:noFill/>
              <a:prstDash val="solid"/>
              <a:miter/>
            </a:ln>
          </p:spPr>
          <p:txBody>
            <a:bodyPr rtlCol="0" anchor="ctr"/>
            <a:lstStyle/>
            <a:p>
              <a:endParaRPr lang="en-GB" sz="1350">
                <a:solidFill>
                  <a:schemeClr val="tx1"/>
                </a:solidFill>
              </a:endParaRPr>
            </a:p>
          </p:txBody>
        </p:sp>
        <p:sp>
          <p:nvSpPr>
            <p:cNvPr id="31" name="Frihandsfigur 30">
              <a:extLst>
                <a:ext uri="{FF2B5EF4-FFF2-40B4-BE49-F238E27FC236}">
                  <a16:creationId xmlns:a16="http://schemas.microsoft.com/office/drawing/2014/main" id="{4EE1472B-49F4-FC43-BA88-4FF27BAE288B}"/>
                </a:ext>
              </a:extLst>
            </p:cNvPr>
            <p:cNvSpPr/>
            <p:nvPr userDrawn="1"/>
          </p:nvSpPr>
          <p:spPr>
            <a:xfrm>
              <a:off x="11359962" y="6642637"/>
              <a:ext cx="10888" cy="10220"/>
            </a:xfrm>
            <a:custGeom>
              <a:avLst/>
              <a:gdLst>
                <a:gd name="connsiteX0" fmla="*/ 9375 w 10888"/>
                <a:gd name="connsiteY0" fmla="*/ 1411 h 10220"/>
                <a:gd name="connsiteX1" fmla="*/ 1472 w 10888"/>
                <a:gd name="connsiteY1" fmla="*/ 1411 h 10220"/>
                <a:gd name="connsiteX2" fmla="*/ 6 w 10888"/>
                <a:gd name="connsiteY2" fmla="*/ 5109 h 10220"/>
                <a:gd name="connsiteX3" fmla="*/ 1472 w 10888"/>
                <a:gd name="connsiteY3" fmla="*/ 8817 h 10220"/>
                <a:gd name="connsiteX4" fmla="*/ 9375 w 10888"/>
                <a:gd name="connsiteY4" fmla="*/ 8817 h 10220"/>
                <a:gd name="connsiteX5" fmla="*/ 9375 w 10888"/>
                <a:gd name="connsiteY5" fmla="*/ 1411 h 10220"/>
                <a:gd name="connsiteX6" fmla="*/ 7427 w 10888"/>
                <a:gd name="connsiteY6" fmla="*/ 6282 h 10220"/>
                <a:gd name="connsiteX7" fmla="*/ 5419 w 10888"/>
                <a:gd name="connsiteY7" fmla="*/ 7354 h 10220"/>
                <a:gd name="connsiteX8" fmla="*/ 3471 w 10888"/>
                <a:gd name="connsiteY8" fmla="*/ 6282 h 10220"/>
                <a:gd name="connsiteX9" fmla="*/ 3471 w 10888"/>
                <a:gd name="connsiteY9" fmla="*/ 3947 h 10220"/>
                <a:gd name="connsiteX10" fmla="*/ 5419 w 10888"/>
                <a:gd name="connsiteY10" fmla="*/ 2875 h 10220"/>
                <a:gd name="connsiteX11" fmla="*/ 7427 w 10888"/>
                <a:gd name="connsiteY11" fmla="*/ 3947 h 10220"/>
                <a:gd name="connsiteX12" fmla="*/ 7427 w 10888"/>
                <a:gd name="connsiteY12" fmla="*/ 6282 h 1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88" h="10220">
                  <a:moveTo>
                    <a:pt x="9375" y="1411"/>
                  </a:moveTo>
                  <a:cubicBezTo>
                    <a:pt x="7075" y="-470"/>
                    <a:pt x="3772" y="-470"/>
                    <a:pt x="1472" y="1411"/>
                  </a:cubicBezTo>
                  <a:cubicBezTo>
                    <a:pt x="478" y="2377"/>
                    <a:pt x="-64" y="3723"/>
                    <a:pt x="6" y="5109"/>
                  </a:cubicBezTo>
                  <a:cubicBezTo>
                    <a:pt x="-54" y="6496"/>
                    <a:pt x="478" y="7842"/>
                    <a:pt x="1472" y="8817"/>
                  </a:cubicBezTo>
                  <a:cubicBezTo>
                    <a:pt x="3772" y="10688"/>
                    <a:pt x="7075" y="10688"/>
                    <a:pt x="9375" y="8817"/>
                  </a:cubicBezTo>
                  <a:cubicBezTo>
                    <a:pt x="11393" y="6760"/>
                    <a:pt x="11393" y="3469"/>
                    <a:pt x="9375" y="1411"/>
                  </a:cubicBezTo>
                  <a:close/>
                  <a:moveTo>
                    <a:pt x="7427" y="6282"/>
                  </a:moveTo>
                  <a:cubicBezTo>
                    <a:pt x="7065" y="7042"/>
                    <a:pt x="6252" y="7478"/>
                    <a:pt x="5419" y="7354"/>
                  </a:cubicBezTo>
                  <a:cubicBezTo>
                    <a:pt x="4605" y="7467"/>
                    <a:pt x="3812" y="7030"/>
                    <a:pt x="3471" y="6282"/>
                  </a:cubicBezTo>
                  <a:cubicBezTo>
                    <a:pt x="3079" y="5552"/>
                    <a:pt x="3079" y="4676"/>
                    <a:pt x="3471" y="3947"/>
                  </a:cubicBezTo>
                  <a:cubicBezTo>
                    <a:pt x="3812" y="3195"/>
                    <a:pt x="4605" y="2758"/>
                    <a:pt x="5419" y="2875"/>
                  </a:cubicBezTo>
                  <a:cubicBezTo>
                    <a:pt x="6252" y="2746"/>
                    <a:pt x="7075" y="3183"/>
                    <a:pt x="7427" y="3947"/>
                  </a:cubicBezTo>
                  <a:cubicBezTo>
                    <a:pt x="7819" y="4676"/>
                    <a:pt x="7819" y="5552"/>
                    <a:pt x="7427" y="6282"/>
                  </a:cubicBezTo>
                  <a:close/>
                </a:path>
              </a:pathLst>
            </a:custGeom>
            <a:solidFill>
              <a:schemeClr val="tx1"/>
            </a:solidFill>
            <a:ln w="998" cap="flat">
              <a:noFill/>
              <a:prstDash val="solid"/>
              <a:miter/>
            </a:ln>
          </p:spPr>
          <p:txBody>
            <a:bodyPr rtlCol="0" anchor="ctr"/>
            <a:lstStyle/>
            <a:p>
              <a:endParaRPr lang="en-GB" sz="1350">
                <a:solidFill>
                  <a:schemeClr val="tx1"/>
                </a:solidFill>
              </a:endParaRPr>
            </a:p>
          </p:txBody>
        </p:sp>
      </p:grpSp>
    </p:spTree>
    <p:extLst>
      <p:ext uri="{BB962C8B-B14F-4D97-AF65-F5344CB8AC3E}">
        <p14:creationId xmlns:p14="http://schemas.microsoft.com/office/powerpoint/2010/main" val="170889325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Titelfolie">
    <p:spTree>
      <p:nvGrpSpPr>
        <p:cNvPr id="1" name=""/>
        <p:cNvGrpSpPr/>
        <p:nvPr/>
      </p:nvGrpSpPr>
      <p:grpSpPr>
        <a:xfrm>
          <a:off x="0" y="0"/>
          <a:ext cx="0" cy="0"/>
          <a:chOff x="0" y="0"/>
          <a:chExt cx="0" cy="0"/>
        </a:xfrm>
      </p:grpSpPr>
      <p:sp>
        <p:nvSpPr>
          <p:cNvPr id="4" name="Fußzeilenplatzhalter 3" hidden="1">
            <a:extLst>
              <a:ext uri="{FF2B5EF4-FFF2-40B4-BE49-F238E27FC236}">
                <a16:creationId xmlns:a16="http://schemas.microsoft.com/office/drawing/2014/main" id="{238423A3-A1C9-4474-9F22-BDCD6D1A8555}"/>
              </a:ext>
            </a:extLst>
          </p:cNvPr>
          <p:cNvSpPr>
            <a:spLocks noGrp="1"/>
          </p:cNvSpPr>
          <p:nvPr>
            <p:ph type="ftr" sz="quarter" idx="10"/>
          </p:nvPr>
        </p:nvSpPr>
        <p:spPr/>
        <p:txBody>
          <a:bodyPr/>
          <a:lstStyle>
            <a:lvl1pPr>
              <a:defRPr>
                <a:noFill/>
              </a:defRPr>
            </a:lvl1pPr>
          </a:lstStyle>
          <a:p>
            <a:endParaRPr lang="de-DE"/>
          </a:p>
        </p:txBody>
      </p:sp>
      <p:sp>
        <p:nvSpPr>
          <p:cNvPr id="5" name="Foliennummernplatzhalter 4" hidden="1">
            <a:extLst>
              <a:ext uri="{FF2B5EF4-FFF2-40B4-BE49-F238E27FC236}">
                <a16:creationId xmlns:a16="http://schemas.microsoft.com/office/drawing/2014/main" id="{4357B8F8-C7DB-493A-8BD8-3EA5DBD9584E}"/>
              </a:ext>
            </a:extLst>
          </p:cNvPr>
          <p:cNvSpPr>
            <a:spLocks noGrp="1"/>
          </p:cNvSpPr>
          <p:nvPr>
            <p:ph type="sldNum" sz="quarter" idx="11"/>
          </p:nvPr>
        </p:nvSpPr>
        <p:spPr/>
        <p:txBody>
          <a:bodyPr/>
          <a:lstStyle>
            <a:lvl1pPr>
              <a:defRPr>
                <a:noFill/>
              </a:defRPr>
            </a:lvl1pPr>
          </a:lstStyle>
          <a:p>
            <a:fld id="{9D543ADB-E95E-4587-963D-D3C6AB2E96C0}" type="slidenum">
              <a:rPr lang="de-DE"/>
              <a:pPr/>
              <a:t>‹Nr.›</a:t>
            </a:fld>
            <a:endParaRPr lang="de-DE"/>
          </a:p>
        </p:txBody>
      </p:sp>
      <p:pic>
        <p:nvPicPr>
          <p:cNvPr id="7" name="Grafik 6" descr="Uniper_Logo_Office_CO_PPT_large.png"/>
          <p:cNvPicPr>
            <a:picLocks noChangeAspect="1"/>
          </p:cNvPicPr>
          <p:nvPr/>
        </p:nvPicPr>
        <p:blipFill>
          <a:blip r:embed="rId2" cstate="print"/>
          <a:stretch>
            <a:fillRect/>
          </a:stretch>
        </p:blipFill>
        <p:spPr>
          <a:xfrm>
            <a:off x="460852" y="410031"/>
            <a:ext cx="1512000" cy="1308489"/>
          </a:xfrm>
          <a:prstGeom prst="rect">
            <a:avLst/>
          </a:prstGeom>
        </p:spPr>
      </p:pic>
      <p:sp>
        <p:nvSpPr>
          <p:cNvPr id="6" name="Title 5">
            <a:extLst>
              <a:ext uri="{FF2B5EF4-FFF2-40B4-BE49-F238E27FC236}">
                <a16:creationId xmlns:a16="http://schemas.microsoft.com/office/drawing/2014/main" id="{9466A46E-80BD-4308-953A-E550CF4D2C01}"/>
              </a:ext>
            </a:extLst>
          </p:cNvPr>
          <p:cNvSpPr>
            <a:spLocks noGrp="1"/>
          </p:cNvSpPr>
          <p:nvPr>
            <p:ph type="title"/>
          </p:nvPr>
        </p:nvSpPr>
        <p:spPr>
          <a:xfrm>
            <a:off x="679294" y="3189001"/>
            <a:ext cx="7344000" cy="1177200"/>
          </a:xfrm>
        </p:spPr>
        <p:txBody>
          <a:bodyPr anchor="b"/>
          <a:lstStyle>
            <a:lvl1pPr>
              <a:defRPr>
                <a:solidFill>
                  <a:srgbClr val="E6252E"/>
                </a:solidFill>
              </a:defRPr>
            </a:lvl1pPr>
          </a:lstStyle>
          <a:p>
            <a:r>
              <a:rPr lang="de-DE"/>
              <a:t>Mastertitelformat bearbeiten</a:t>
            </a:r>
            <a:endParaRPr lang="en-US"/>
          </a:p>
        </p:txBody>
      </p:sp>
      <p:sp>
        <p:nvSpPr>
          <p:cNvPr id="8" name="Subtitle 2">
            <a:extLst>
              <a:ext uri="{FF2B5EF4-FFF2-40B4-BE49-F238E27FC236}">
                <a16:creationId xmlns:a16="http://schemas.microsoft.com/office/drawing/2014/main" id="{755C8BB0-BDCF-4AAB-9570-1C242D1E31CF}"/>
              </a:ext>
            </a:extLst>
          </p:cNvPr>
          <p:cNvSpPr>
            <a:spLocks noGrp="1"/>
          </p:cNvSpPr>
          <p:nvPr>
            <p:ph type="subTitle" idx="1"/>
          </p:nvPr>
        </p:nvSpPr>
        <p:spPr>
          <a:xfrm>
            <a:off x="674533" y="4451350"/>
            <a:ext cx="7344000" cy="216000"/>
          </a:xfrm>
        </p:spPr>
        <p:txBody>
          <a:bodyPr lIns="0" tIns="0" rIns="0" bIns="0">
            <a:noAutofit/>
          </a:bodyPr>
          <a:lstStyle>
            <a:lvl1pPr>
              <a:defRPr lang="en-US" sz="1600" kern="1200" dirty="0">
                <a:solidFill>
                  <a:srgbClr val="5E5E5E"/>
                </a:solidFill>
                <a:latin typeface="+mn-lt"/>
                <a:ea typeface="+mn-ea"/>
                <a:cs typeface="+mn-cs"/>
              </a:defRPr>
            </a:lvl1pPr>
          </a:lstStyle>
          <a:p>
            <a:r>
              <a:rPr lang="de-DE"/>
              <a:t>Master-Untertitelformat bearbeiten</a:t>
            </a:r>
            <a:endParaRPr lang="en-US"/>
          </a:p>
        </p:txBody>
      </p:sp>
    </p:spTree>
  </p:cSld>
  <p:clrMapOvr>
    <a:masterClrMapping/>
  </p:clrMapOvr>
  <p:hf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Blue-World-Image">
    <p:spTree>
      <p:nvGrpSpPr>
        <p:cNvPr id="1" name=""/>
        <p:cNvGrpSpPr/>
        <p:nvPr/>
      </p:nvGrpSpPr>
      <p:grpSpPr>
        <a:xfrm>
          <a:off x="0" y="0"/>
          <a:ext cx="0" cy="0"/>
          <a:chOff x="0" y="0"/>
          <a:chExt cx="0" cy="0"/>
        </a:xfrm>
      </p:grpSpPr>
      <p:sp>
        <p:nvSpPr>
          <p:cNvPr id="4" name="Fußzeilenplatzhalter 3" hidden="1">
            <a:extLst>
              <a:ext uri="{FF2B5EF4-FFF2-40B4-BE49-F238E27FC236}">
                <a16:creationId xmlns:a16="http://schemas.microsoft.com/office/drawing/2014/main" id="{FB978F84-2192-4845-A10C-F6AA5CAEE94B}"/>
              </a:ext>
            </a:extLst>
          </p:cNvPr>
          <p:cNvSpPr>
            <a:spLocks noGrp="1"/>
          </p:cNvSpPr>
          <p:nvPr>
            <p:ph type="ftr" sz="quarter" idx="10"/>
          </p:nvPr>
        </p:nvSpPr>
        <p:spPr/>
        <p:txBody>
          <a:bodyPr/>
          <a:lstStyle>
            <a:lvl1pPr>
              <a:defRPr>
                <a:noFill/>
              </a:defRPr>
            </a:lvl1pPr>
          </a:lstStyle>
          <a:p>
            <a:endParaRPr lang="de-DE"/>
          </a:p>
        </p:txBody>
      </p:sp>
      <p:sp>
        <p:nvSpPr>
          <p:cNvPr id="5" name="Foliennummernplatzhalter 4" hidden="1">
            <a:extLst>
              <a:ext uri="{FF2B5EF4-FFF2-40B4-BE49-F238E27FC236}">
                <a16:creationId xmlns:a16="http://schemas.microsoft.com/office/drawing/2014/main" id="{E4F7F103-97CE-454A-BA2B-1B30B72050C8}"/>
              </a:ext>
            </a:extLst>
          </p:cNvPr>
          <p:cNvSpPr>
            <a:spLocks noGrp="1"/>
          </p:cNvSpPr>
          <p:nvPr>
            <p:ph type="sldNum" sz="quarter" idx="11"/>
          </p:nvPr>
        </p:nvSpPr>
        <p:spPr/>
        <p:txBody>
          <a:bodyPr/>
          <a:lstStyle>
            <a:lvl1pPr>
              <a:defRPr>
                <a:noFill/>
              </a:defRPr>
            </a:lvl1pPr>
          </a:lstStyle>
          <a:p>
            <a:fld id="{9D543ADB-E95E-4587-963D-D3C6AB2E96C0}" type="slidenum">
              <a:rPr lang="de-DE"/>
              <a:pPr/>
              <a:t>‹Nr.›</a:t>
            </a:fld>
            <a:endParaRPr lang="de-DE"/>
          </a:p>
        </p:txBody>
      </p:sp>
      <p:sp>
        <p:nvSpPr>
          <p:cNvPr id="9" name="Subtitle 2">
            <a:extLst>
              <a:ext uri="{FF2B5EF4-FFF2-40B4-BE49-F238E27FC236}">
                <a16:creationId xmlns:a16="http://schemas.microsoft.com/office/drawing/2014/main" id="{EF5D6D13-E0B7-485C-B768-A145E0E18B5F}"/>
              </a:ext>
            </a:extLst>
          </p:cNvPr>
          <p:cNvSpPr>
            <a:spLocks noGrp="1"/>
          </p:cNvSpPr>
          <p:nvPr>
            <p:ph type="subTitle" idx="1"/>
          </p:nvPr>
        </p:nvSpPr>
        <p:spPr>
          <a:xfrm>
            <a:off x="674533" y="4451350"/>
            <a:ext cx="7344000" cy="216000"/>
          </a:xfrm>
        </p:spPr>
        <p:txBody>
          <a:bodyPr lIns="0" tIns="0" rIns="0" bIns="0">
            <a:noAutofit/>
          </a:bodyPr>
          <a:lstStyle>
            <a:lvl1pPr>
              <a:defRPr lang="en-US" sz="1600" kern="1200" dirty="0">
                <a:solidFill>
                  <a:srgbClr val="FFFFFF"/>
                </a:solidFill>
                <a:latin typeface="+mn-lt"/>
                <a:ea typeface="+mn-ea"/>
                <a:cs typeface="+mn-cs"/>
              </a:defRPr>
            </a:lvl1pPr>
          </a:lstStyle>
          <a:p>
            <a:r>
              <a:rPr lang="de-DE"/>
              <a:t>Master-Untertitelformat bearbeiten</a:t>
            </a:r>
            <a:endParaRPr lang="en-US"/>
          </a:p>
        </p:txBody>
      </p:sp>
      <p:sp>
        <p:nvSpPr>
          <p:cNvPr id="7" name="Title 6">
            <a:extLst>
              <a:ext uri="{FF2B5EF4-FFF2-40B4-BE49-F238E27FC236}">
                <a16:creationId xmlns:a16="http://schemas.microsoft.com/office/drawing/2014/main" id="{76616A09-7D05-49A2-A277-47C60959A381}"/>
              </a:ext>
            </a:extLst>
          </p:cNvPr>
          <p:cNvSpPr>
            <a:spLocks noGrp="1"/>
          </p:cNvSpPr>
          <p:nvPr>
            <p:ph type="title"/>
          </p:nvPr>
        </p:nvSpPr>
        <p:spPr>
          <a:xfrm>
            <a:off x="691200" y="3150901"/>
            <a:ext cx="7344000" cy="1177200"/>
          </a:xfrm>
        </p:spPr>
        <p:txBody>
          <a:bodyPr vert="horz" lIns="0" tIns="0" rIns="0" bIns="0" rtlCol="0" anchor="b" anchorCtr="0">
            <a:noAutofit/>
          </a:bodyPr>
          <a:lstStyle>
            <a:lvl1pPr>
              <a:defRPr lang="en-US" dirty="0">
                <a:solidFill>
                  <a:srgbClr val="FFEA00"/>
                </a:solidFill>
              </a:defRPr>
            </a:lvl1pPr>
          </a:lstStyle>
          <a:p>
            <a:pPr lvl="0"/>
            <a:r>
              <a:rPr lang="de-DE"/>
              <a:t>Mastertitelformat bearbeiten</a:t>
            </a:r>
            <a:endParaRPr lang="en-US"/>
          </a:p>
        </p:txBody>
      </p:sp>
    </p:spTree>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a:pPr/>
              <a:t>‹Nr.›</a:t>
            </a:fld>
            <a:endParaRPr lang="de-DE"/>
          </a:p>
        </p:txBody>
      </p:sp>
      <p:sp>
        <p:nvSpPr>
          <p:cNvPr id="8" name="Content Placeholder 7">
            <a:extLst>
              <a:ext uri="{FF2B5EF4-FFF2-40B4-BE49-F238E27FC236}">
                <a16:creationId xmlns:a16="http://schemas.microsoft.com/office/drawing/2014/main" id="{C674629C-DD7D-4E22-AF96-8D154ADEA0E7}"/>
              </a:ext>
            </a:extLst>
          </p:cNvPr>
          <p:cNvSpPr>
            <a:spLocks noGrp="1"/>
          </p:cNvSpPr>
          <p:nvPr>
            <p:ph sz="quarter" idx="13"/>
          </p:nvPr>
        </p:nvSpPr>
        <p:spPr>
          <a:xfrm>
            <a:off x="504000" y="1044000"/>
            <a:ext cx="3888000" cy="325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0" name="Content Placeholder 9">
            <a:extLst>
              <a:ext uri="{FF2B5EF4-FFF2-40B4-BE49-F238E27FC236}">
                <a16:creationId xmlns:a16="http://schemas.microsoft.com/office/drawing/2014/main" id="{2BCAB523-D9B9-4DCA-90B1-3EAAD2E7306B}"/>
              </a:ext>
            </a:extLst>
          </p:cNvPr>
          <p:cNvSpPr>
            <a:spLocks noGrp="1"/>
          </p:cNvSpPr>
          <p:nvPr>
            <p:ph sz="quarter" idx="14"/>
          </p:nvPr>
        </p:nvSpPr>
        <p:spPr>
          <a:xfrm>
            <a:off x="4751999" y="1044000"/>
            <a:ext cx="3888000" cy="325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Title 10">
            <a:extLst>
              <a:ext uri="{FF2B5EF4-FFF2-40B4-BE49-F238E27FC236}">
                <a16:creationId xmlns:a16="http://schemas.microsoft.com/office/drawing/2014/main" id="{199AF554-0CD9-4CD5-A4E6-6B0CD5E19D8E}"/>
              </a:ext>
            </a:extLst>
          </p:cNvPr>
          <p:cNvSpPr>
            <a:spLocks noGrp="1"/>
          </p:cNvSpPr>
          <p:nvPr>
            <p:ph type="title"/>
          </p:nvPr>
        </p:nvSpPr>
        <p:spPr/>
        <p:txBody>
          <a:bodyPr/>
          <a:lstStyle/>
          <a:p>
            <a:r>
              <a:rPr lang="de-DE"/>
              <a:t>Mastertitelformat bearbeiten</a:t>
            </a:r>
            <a:endParaRPr lang="en-US"/>
          </a:p>
        </p:txBody>
      </p:sp>
    </p:spTree>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a:pPr/>
              <a:t>‹Nr.›</a:t>
            </a:fld>
            <a:endParaRPr lang="de-DE"/>
          </a:p>
        </p:txBody>
      </p:sp>
      <p:sp>
        <p:nvSpPr>
          <p:cNvPr id="10" name="Title 9">
            <a:extLst>
              <a:ext uri="{FF2B5EF4-FFF2-40B4-BE49-F238E27FC236}">
                <a16:creationId xmlns:a16="http://schemas.microsoft.com/office/drawing/2014/main" id="{4CCAA80F-9E13-47A2-82BD-2AFD35323E69}"/>
              </a:ext>
            </a:extLst>
          </p:cNvPr>
          <p:cNvSpPr>
            <a:spLocks noGrp="1"/>
          </p:cNvSpPr>
          <p:nvPr>
            <p:ph type="title"/>
          </p:nvPr>
        </p:nvSpPr>
        <p:spPr/>
        <p:txBody>
          <a:bodyPr/>
          <a:lstStyle/>
          <a:p>
            <a:r>
              <a:rPr lang="de-DE"/>
              <a:t>Mastertitelformat bearbeiten</a:t>
            </a:r>
            <a:endParaRPr lang="en-US"/>
          </a:p>
        </p:txBody>
      </p:sp>
      <p:sp>
        <p:nvSpPr>
          <p:cNvPr id="12" name="Content Placeholder 11">
            <a:extLst>
              <a:ext uri="{FF2B5EF4-FFF2-40B4-BE49-F238E27FC236}">
                <a16:creationId xmlns:a16="http://schemas.microsoft.com/office/drawing/2014/main" id="{2E095289-68D2-4C3B-9E5F-EE1F01E783A6}"/>
              </a:ext>
            </a:extLst>
          </p:cNvPr>
          <p:cNvSpPr>
            <a:spLocks noGrp="1"/>
          </p:cNvSpPr>
          <p:nvPr>
            <p:ph sz="quarter" idx="15"/>
          </p:nvPr>
        </p:nvSpPr>
        <p:spPr>
          <a:xfrm>
            <a:off x="3276000" y="1044000"/>
            <a:ext cx="2592000" cy="325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Content Placeholder 13">
            <a:extLst>
              <a:ext uri="{FF2B5EF4-FFF2-40B4-BE49-F238E27FC236}">
                <a16:creationId xmlns:a16="http://schemas.microsoft.com/office/drawing/2014/main" id="{83B59E12-FEA8-4ECD-9B58-10562618F2DD}"/>
              </a:ext>
            </a:extLst>
          </p:cNvPr>
          <p:cNvSpPr>
            <a:spLocks noGrp="1"/>
          </p:cNvSpPr>
          <p:nvPr>
            <p:ph sz="quarter" idx="16"/>
          </p:nvPr>
        </p:nvSpPr>
        <p:spPr>
          <a:xfrm>
            <a:off x="6048000" y="1044000"/>
            <a:ext cx="2592000" cy="325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Content Placeholder 15">
            <a:extLst>
              <a:ext uri="{FF2B5EF4-FFF2-40B4-BE49-F238E27FC236}">
                <a16:creationId xmlns:a16="http://schemas.microsoft.com/office/drawing/2014/main" id="{15B0D276-C3B5-48AA-93BA-1A8629B89C61}"/>
              </a:ext>
            </a:extLst>
          </p:cNvPr>
          <p:cNvSpPr>
            <a:spLocks noGrp="1"/>
          </p:cNvSpPr>
          <p:nvPr>
            <p:ph sz="quarter" idx="17"/>
          </p:nvPr>
        </p:nvSpPr>
        <p:spPr>
          <a:xfrm>
            <a:off x="504000" y="1044000"/>
            <a:ext cx="2592000" cy="325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Vergleich">
    <p:spTree>
      <p:nvGrpSpPr>
        <p:cNvPr id="1" name=""/>
        <p:cNvGrpSpPr/>
        <p:nvPr/>
      </p:nvGrpSpPr>
      <p:grpSpPr>
        <a:xfrm>
          <a:off x="0" y="0"/>
          <a:ext cx="0" cy="0"/>
          <a:chOff x="0" y="0"/>
          <a:chExt cx="0" cy="0"/>
        </a:xfrm>
      </p:grpSpPr>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9D543ADB-E95E-4587-963D-D3C6AB2E96C0}" type="slidenum">
              <a:rPr lang="de-DE"/>
              <a:pPr/>
              <a:t>‹Nr.›</a:t>
            </a:fld>
            <a:endParaRPr lang="de-DE"/>
          </a:p>
        </p:txBody>
      </p:sp>
      <p:sp>
        <p:nvSpPr>
          <p:cNvPr id="7" name="Title 6">
            <a:extLst>
              <a:ext uri="{FF2B5EF4-FFF2-40B4-BE49-F238E27FC236}">
                <a16:creationId xmlns:a16="http://schemas.microsoft.com/office/drawing/2014/main" id="{01537E8D-70F7-4752-B0A4-0E2D65E49807}"/>
              </a:ext>
            </a:extLst>
          </p:cNvPr>
          <p:cNvSpPr>
            <a:spLocks noGrp="1"/>
          </p:cNvSpPr>
          <p:nvPr>
            <p:ph type="title"/>
          </p:nvPr>
        </p:nvSpPr>
        <p:spPr/>
        <p:txBody>
          <a:bodyPr/>
          <a:lstStyle/>
          <a:p>
            <a:r>
              <a:rPr lang="de-DE"/>
              <a:t>Mastertitelformat bearbeiten</a:t>
            </a:r>
            <a:endParaRPr lang="en-US"/>
          </a:p>
        </p:txBody>
      </p:sp>
      <p:sp>
        <p:nvSpPr>
          <p:cNvPr id="11" name="Text Placeholder 10">
            <a:extLst>
              <a:ext uri="{FF2B5EF4-FFF2-40B4-BE49-F238E27FC236}">
                <a16:creationId xmlns:a16="http://schemas.microsoft.com/office/drawing/2014/main" id="{7701F216-7960-46AE-996D-C906A16F3D23}"/>
              </a:ext>
            </a:extLst>
          </p:cNvPr>
          <p:cNvSpPr>
            <a:spLocks noGrp="1"/>
          </p:cNvSpPr>
          <p:nvPr>
            <p:ph type="body" sz="quarter" idx="13"/>
          </p:nvPr>
        </p:nvSpPr>
        <p:spPr>
          <a:xfrm>
            <a:off x="504000" y="1044000"/>
            <a:ext cx="3888000" cy="216000"/>
          </a:xfrm>
        </p:spPr>
        <p:txBody>
          <a:bodyPr vert="horz" lIns="0" tIns="0" rIns="0" bIns="0" rtlCol="0" anchor="t" anchorCtr="0">
            <a:noAutofit/>
          </a:bodyPr>
          <a:lstStyle>
            <a:lvl1pPr>
              <a:defRPr lang="en-US" b="1"/>
            </a:lvl1pPr>
            <a:lvl2pPr>
              <a:defRPr lang="en-US" sz="2000" b="1"/>
            </a:lvl2pPr>
            <a:lvl3pPr>
              <a:defRPr lang="en-US" sz="1800" b="1"/>
            </a:lvl3pPr>
            <a:lvl4pPr>
              <a:defRPr lang="en-US" b="1"/>
            </a:lvl4pPr>
            <a:lvl5pPr>
              <a:defRPr lang="en-US" b="1"/>
            </a:lvl5pPr>
          </a:lstStyle>
          <a:p>
            <a:pPr lvl="0"/>
            <a:r>
              <a:rPr lang="de-DE"/>
              <a:t>Mastertextformat bearbeiten</a:t>
            </a:r>
          </a:p>
        </p:txBody>
      </p:sp>
      <p:sp>
        <p:nvSpPr>
          <p:cNvPr id="17" name="Text Placeholder 16">
            <a:extLst>
              <a:ext uri="{FF2B5EF4-FFF2-40B4-BE49-F238E27FC236}">
                <a16:creationId xmlns:a16="http://schemas.microsoft.com/office/drawing/2014/main" id="{CD4943F7-54BE-4958-9B3D-BC640A37620E}"/>
              </a:ext>
            </a:extLst>
          </p:cNvPr>
          <p:cNvSpPr>
            <a:spLocks noGrp="1"/>
          </p:cNvSpPr>
          <p:nvPr>
            <p:ph type="body" sz="quarter" idx="14"/>
          </p:nvPr>
        </p:nvSpPr>
        <p:spPr>
          <a:xfrm>
            <a:off x="4751999" y="1044000"/>
            <a:ext cx="3888000" cy="216000"/>
          </a:xfrm>
        </p:spPr>
        <p:txBody>
          <a:bodyPr vert="horz" lIns="0" tIns="0" rIns="0" bIns="0" rtlCol="0" anchor="t" anchorCtr="0">
            <a:noAutofit/>
          </a:bodyPr>
          <a:lstStyle>
            <a:lvl1pPr>
              <a:defRPr lang="en-US" b="1"/>
            </a:lvl1pPr>
            <a:lvl2pPr>
              <a:defRPr lang="en-US" sz="2000" b="1"/>
            </a:lvl2pPr>
            <a:lvl3pPr>
              <a:defRPr lang="en-US" sz="1800" b="1"/>
            </a:lvl3pPr>
            <a:lvl4pPr>
              <a:defRPr lang="en-US" b="1"/>
            </a:lvl4pPr>
            <a:lvl5pPr>
              <a:defRPr lang="en-US" b="1"/>
            </a:lvl5pPr>
          </a:lstStyle>
          <a:p>
            <a:pPr lvl="0"/>
            <a:r>
              <a:rPr lang="de-DE"/>
              <a:t>Mastertextformat bearbeiten</a:t>
            </a:r>
          </a:p>
        </p:txBody>
      </p:sp>
      <p:sp>
        <p:nvSpPr>
          <p:cNvPr id="21" name="Content Placeholder 20">
            <a:extLst>
              <a:ext uri="{FF2B5EF4-FFF2-40B4-BE49-F238E27FC236}">
                <a16:creationId xmlns:a16="http://schemas.microsoft.com/office/drawing/2014/main" id="{B176424C-F03C-40B9-97A3-B10B15FAB976}"/>
              </a:ext>
            </a:extLst>
          </p:cNvPr>
          <p:cNvSpPr>
            <a:spLocks noGrp="1"/>
          </p:cNvSpPr>
          <p:nvPr>
            <p:ph sz="quarter" idx="15"/>
          </p:nvPr>
        </p:nvSpPr>
        <p:spPr>
          <a:xfrm>
            <a:off x="504000" y="1249200"/>
            <a:ext cx="3888000" cy="30528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Content Placeholder 22">
            <a:extLst>
              <a:ext uri="{FF2B5EF4-FFF2-40B4-BE49-F238E27FC236}">
                <a16:creationId xmlns:a16="http://schemas.microsoft.com/office/drawing/2014/main" id="{0FD6A472-4AC8-4029-B167-5780CC9DB1B2}"/>
              </a:ext>
            </a:extLst>
          </p:cNvPr>
          <p:cNvSpPr>
            <a:spLocks noGrp="1"/>
          </p:cNvSpPr>
          <p:nvPr>
            <p:ph sz="quarter" idx="16"/>
          </p:nvPr>
        </p:nvSpPr>
        <p:spPr>
          <a:xfrm>
            <a:off x="4751999" y="1249200"/>
            <a:ext cx="3888000" cy="30528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9D543ADB-E95E-4587-963D-D3C6AB2E96C0}" type="slidenum">
              <a:rPr lang="de-DE"/>
              <a:pPr/>
              <a:t>‹Nr.›</a:t>
            </a:fld>
            <a:endParaRPr lang="de-DE"/>
          </a:p>
        </p:txBody>
      </p:sp>
      <p:sp>
        <p:nvSpPr>
          <p:cNvPr id="3" name="Title 2">
            <a:extLst>
              <a:ext uri="{FF2B5EF4-FFF2-40B4-BE49-F238E27FC236}">
                <a16:creationId xmlns:a16="http://schemas.microsoft.com/office/drawing/2014/main" id="{8A4FF2C4-BB7C-40B0-8FD3-1931EF190777}"/>
              </a:ext>
            </a:extLst>
          </p:cNvPr>
          <p:cNvSpPr>
            <a:spLocks noGrp="1"/>
          </p:cNvSpPr>
          <p:nvPr>
            <p:ph type="title"/>
          </p:nvPr>
        </p:nvSpPr>
        <p:spPr/>
        <p:txBody>
          <a:bodyPr/>
          <a:lstStyle/>
          <a:p>
            <a:r>
              <a:rPr lang="de-DE"/>
              <a:t>Mastertitelformat bearbeiten</a:t>
            </a:r>
            <a:endParaRPr 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9D543ADB-E95E-4587-963D-D3C6AB2E96C0}" type="slidenum">
              <a:rPr lang="de-DE"/>
              <a:pPr/>
              <a:t>‹Nr.›</a:t>
            </a:fld>
            <a:endParaRPr lang="de-DE"/>
          </a:p>
        </p:txBody>
      </p:sp>
      <p:sp>
        <p:nvSpPr>
          <p:cNvPr id="4" name="Title 3">
            <a:extLst>
              <a:ext uri="{FF2B5EF4-FFF2-40B4-BE49-F238E27FC236}">
                <a16:creationId xmlns:a16="http://schemas.microsoft.com/office/drawing/2014/main" id="{2D1B8E22-44D6-4140-8465-BFCE1BE407C3}"/>
              </a:ext>
            </a:extLst>
          </p:cNvPr>
          <p:cNvSpPr>
            <a:spLocks noGrp="1"/>
          </p:cNvSpPr>
          <p:nvPr>
            <p:ph type="title"/>
          </p:nvPr>
        </p:nvSpPr>
        <p:spPr/>
        <p:txBody>
          <a:bodyPr/>
          <a:lstStyle/>
          <a:p>
            <a:r>
              <a:rPr lang="de-DE"/>
              <a:t>Mastertitelformat bearbeiten</a:t>
            </a:r>
            <a:endParaRPr lang="en-US"/>
          </a:p>
        </p:txBody>
      </p:sp>
      <p:sp>
        <p:nvSpPr>
          <p:cNvPr id="8" name="Content Placeholder 7">
            <a:extLst>
              <a:ext uri="{FF2B5EF4-FFF2-40B4-BE49-F238E27FC236}">
                <a16:creationId xmlns:a16="http://schemas.microsoft.com/office/drawing/2014/main" id="{C68CE395-B40F-4288-9476-4050B14A768D}"/>
              </a:ext>
            </a:extLst>
          </p:cNvPr>
          <p:cNvSpPr>
            <a:spLocks noGrp="1"/>
          </p:cNvSpPr>
          <p:nvPr>
            <p:ph sz="quarter" idx="13"/>
          </p:nvPr>
        </p:nvSpPr>
        <p:spPr>
          <a:xfrm>
            <a:off x="504000" y="1044000"/>
            <a:ext cx="8136000" cy="3258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402656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9D543ADB-E95E-4587-963D-D3C6AB2E96C0}" type="slidenum">
              <a:rPr lang="de-DE"/>
              <a:pPr/>
              <a:t>‹Nr.›</a:t>
            </a:fld>
            <a:endParaRPr lang="de-DE"/>
          </a:p>
        </p:txBody>
      </p:sp>
      <p:sp>
        <p:nvSpPr>
          <p:cNvPr id="4" name="Title 3">
            <a:extLst>
              <a:ext uri="{FF2B5EF4-FFF2-40B4-BE49-F238E27FC236}">
                <a16:creationId xmlns:a16="http://schemas.microsoft.com/office/drawing/2014/main" id="{2D1B8E22-44D6-4140-8465-BFCE1BE407C3}"/>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C68CE395-B40F-4288-9476-4050B14A768D}"/>
              </a:ext>
            </a:extLst>
          </p:cNvPr>
          <p:cNvSpPr>
            <a:spLocks noGrp="1"/>
          </p:cNvSpPr>
          <p:nvPr>
            <p:ph sz="quarter" idx="13"/>
          </p:nvPr>
        </p:nvSpPr>
        <p:spPr>
          <a:xfrm>
            <a:off x="504000" y="1044000"/>
            <a:ext cx="8136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514672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Blue-World-Motiv">
    <p:spTree>
      <p:nvGrpSpPr>
        <p:cNvPr id="1" name=""/>
        <p:cNvGrpSpPr/>
        <p:nvPr/>
      </p:nvGrpSpPr>
      <p:grpSpPr>
        <a:xfrm>
          <a:off x="0" y="0"/>
          <a:ext cx="0" cy="0"/>
          <a:chOff x="0" y="0"/>
          <a:chExt cx="0" cy="0"/>
        </a:xfrm>
      </p:grpSpPr>
      <p:pic>
        <p:nvPicPr>
          <p:cNvPr id="8" name="Blue_World_Plume" descr="Uniper_Blue-World_05_Plume.jpg"/>
          <p:cNvPicPr>
            <a:picLocks noChangeAspect="1"/>
          </p:cNvPicPr>
          <p:nvPr/>
        </p:nvPicPr>
        <p:blipFill>
          <a:blip r:embed="rId2" cstate="print"/>
          <a:srcRect r="5739"/>
          <a:stretch>
            <a:fillRect/>
          </a:stretch>
        </p:blipFill>
        <p:spPr>
          <a:xfrm>
            <a:off x="0" y="-1"/>
            <a:ext cx="9148800" cy="5146200"/>
          </a:xfrm>
          <a:prstGeom prst="rect">
            <a:avLst/>
          </a:prstGeom>
        </p:spPr>
      </p:pic>
      <p:sp>
        <p:nvSpPr>
          <p:cNvPr id="2" name="Titel 1"/>
          <p:cNvSpPr>
            <a:spLocks noGrp="1"/>
          </p:cNvSpPr>
          <p:nvPr>
            <p:ph type="ctrTitle"/>
          </p:nvPr>
        </p:nvSpPr>
        <p:spPr>
          <a:xfrm>
            <a:off x="691200" y="3150900"/>
            <a:ext cx="7344000" cy="1177200"/>
          </a:xfrm>
        </p:spPr>
        <p:txBody>
          <a:bodyPr anchor="b" anchorCtr="0">
            <a:noAutofit/>
          </a:bodyPr>
          <a:lstStyle>
            <a:lvl1pPr>
              <a:defRPr sz="2400">
                <a:solidFill>
                  <a:srgbClr val="FFEA00"/>
                </a:solidFill>
              </a:defRPr>
            </a:lvl1pPr>
          </a:lstStyle>
          <a:p>
            <a:r>
              <a:rPr lang="de-DE"/>
              <a:t>Mastertitelformat bearbeiten</a:t>
            </a:r>
          </a:p>
        </p:txBody>
      </p:sp>
      <p:sp>
        <p:nvSpPr>
          <p:cNvPr id="3" name="Untertitel 2"/>
          <p:cNvSpPr>
            <a:spLocks noGrp="1"/>
          </p:cNvSpPr>
          <p:nvPr>
            <p:ph type="subTitle" idx="1"/>
          </p:nvPr>
        </p:nvSpPr>
        <p:spPr>
          <a:xfrm>
            <a:off x="691200" y="4392000"/>
            <a:ext cx="7344000" cy="216000"/>
          </a:xfrm>
        </p:spPr>
        <p:txBody>
          <a:bodyPr/>
          <a:lstStyle>
            <a:lvl1pPr marL="0" indent="0" algn="l">
              <a:spcAft>
                <a:spcPts val="0"/>
              </a:spcAft>
              <a:buNone/>
              <a:defRPr sz="1600">
                <a:solidFill>
                  <a:srgbClr val="FFFFFF"/>
                </a:solidFill>
              </a:defRPr>
            </a:lvl1pPr>
            <a:lvl2pPr marL="457200" indent="0" algn="l">
              <a:buNone/>
              <a:defRPr>
                <a:solidFill>
                  <a:srgbClr val="FFFFFF"/>
                </a:solidFill>
              </a:defRPr>
            </a:lvl2pPr>
            <a:lvl3pPr marL="914400" indent="0" algn="l">
              <a:buNone/>
              <a:defRPr>
                <a:solidFill>
                  <a:srgbClr val="FFFFFF"/>
                </a:solidFill>
              </a:defRPr>
            </a:lvl3pPr>
            <a:lvl4pPr marL="1371600" indent="0" algn="l">
              <a:buNone/>
              <a:defRPr>
                <a:solidFill>
                  <a:srgbClr val="FFFFFF"/>
                </a:solidFill>
              </a:defRPr>
            </a:lvl4pPr>
            <a:lvl5pPr marL="1828800" indent="0" algn="l">
              <a:buNone/>
              <a:defRPr>
                <a:solidFill>
                  <a:srgbClr val="FFFFFF"/>
                </a:solidFill>
              </a:defRPr>
            </a:lvl5pPr>
            <a:lvl6pPr marL="2286000" indent="0" algn="l">
              <a:buNone/>
              <a:defRPr>
                <a:solidFill>
                  <a:srgbClr val="FFFFFF"/>
                </a:solidFill>
              </a:defRPr>
            </a:lvl6pPr>
            <a:lvl7pPr marL="2743200" indent="0" algn="l">
              <a:buNone/>
              <a:defRPr>
                <a:solidFill>
                  <a:srgbClr val="FFFFFF"/>
                </a:solidFill>
              </a:defRPr>
            </a:lvl7pPr>
            <a:lvl8pPr marL="3200400" indent="0" algn="l">
              <a:buNone/>
              <a:defRPr>
                <a:solidFill>
                  <a:srgbClr val="FFFFFF"/>
                </a:solidFill>
              </a:defRPr>
            </a:lvl8pPr>
            <a:lvl9pPr marL="3657600" indent="0" algn="l">
              <a:buNone/>
              <a:defRPr>
                <a:solidFill>
                  <a:srgbClr val="FFFFFF"/>
                </a:solidFill>
              </a:defRPr>
            </a:lvl9pPr>
          </a:lstStyle>
          <a:p>
            <a:r>
              <a:rPr lang="de-DE"/>
              <a:t>Master-Untertitelformat bearbeiten</a:t>
            </a:r>
          </a:p>
        </p:txBody>
      </p:sp>
      <p:pic>
        <p:nvPicPr>
          <p:cNvPr id="6" name="Grafik 5" descr="Uniper_Logo_Office_White_PPT_large.png"/>
          <p:cNvPicPr>
            <a:picLocks noChangeAspect="1"/>
          </p:cNvPicPr>
          <p:nvPr/>
        </p:nvPicPr>
        <p:blipFill>
          <a:blip r:embed="rId3" cstate="print"/>
          <a:stretch>
            <a:fillRect/>
          </a:stretch>
        </p:blipFill>
        <p:spPr>
          <a:xfrm>
            <a:off x="504000" y="414000"/>
            <a:ext cx="1512000" cy="1308494"/>
          </a:xfrm>
          <a:prstGeom prst="rect">
            <a:avLst/>
          </a:prstGeom>
        </p:spPr>
      </p:pic>
    </p:spTree>
    <p:extLst>
      <p:ext uri="{BB962C8B-B14F-4D97-AF65-F5344CB8AC3E}">
        <p14:creationId xmlns:p14="http://schemas.microsoft.com/office/powerpoint/2010/main" val="1586070703"/>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el und Inhalt">
    <p:spTree>
      <p:nvGrpSpPr>
        <p:cNvPr id="1" name=""/>
        <p:cNvGrpSpPr/>
        <p:nvPr/>
      </p:nvGrpSpPr>
      <p:grpSpPr>
        <a:xfrm>
          <a:off x="0" y="0"/>
          <a:ext cx="0" cy="0"/>
          <a:chOff x="0" y="0"/>
          <a:chExt cx="0" cy="0"/>
        </a:xfrm>
      </p:grpSpPr>
      <p:sp>
        <p:nvSpPr>
          <p:cNvPr id="6" name="Rectangle 3"/>
          <p:cNvSpPr>
            <a:spLocks noChangeArrowheads="1"/>
          </p:cNvSpPr>
          <p:nvPr userDrawn="1"/>
        </p:nvSpPr>
        <p:spPr bwMode="auto">
          <a:xfrm>
            <a:off x="0" y="4677984"/>
            <a:ext cx="9036496" cy="4725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marL="457200" indent="-457200"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eaLnBrk="1" hangingPunct="1"/>
            <a:endParaRPr lang="de-DE" altLang="de-DE" sz="900">
              <a:latin typeface="Arial" charset="0"/>
            </a:endParaRPr>
          </a:p>
        </p:txBody>
      </p:sp>
      <p:sp>
        <p:nvSpPr>
          <p:cNvPr id="3" name="Inhaltsplatzhalter 2"/>
          <p:cNvSpPr>
            <a:spLocks noGrp="1"/>
          </p:cNvSpPr>
          <p:nvPr>
            <p:ph idx="1"/>
          </p:nvPr>
        </p:nvSpPr>
        <p:spPr>
          <a:xfrm>
            <a:off x="457200" y="1059582"/>
            <a:ext cx="8059518" cy="3394472"/>
          </a:xfrm>
        </p:spPr>
        <p:txBody>
          <a:bodyPr>
            <a:normAutofit/>
          </a:bodyPr>
          <a:lstStyle>
            <a:lvl1pPr>
              <a:lnSpc>
                <a:spcPts val="1800"/>
              </a:lnSpc>
              <a:spcBef>
                <a:spcPts val="600"/>
              </a:spcBef>
              <a:spcAft>
                <a:spcPts val="450"/>
              </a:spcAft>
              <a:buClr>
                <a:schemeClr val="tx2">
                  <a:lumMod val="75000"/>
                </a:schemeClr>
              </a:buClr>
              <a:buSzPct val="110000"/>
              <a:defRPr sz="1800"/>
            </a:lvl1pPr>
            <a:lvl2pPr>
              <a:spcBef>
                <a:spcPts val="150"/>
              </a:spcBef>
              <a:spcAft>
                <a:spcPts val="225"/>
              </a:spcAft>
              <a:buClr>
                <a:schemeClr val="tx2">
                  <a:lumMod val="75000"/>
                </a:schemeClr>
              </a:buClr>
              <a:buSzPct val="100000"/>
              <a:defRPr sz="1500"/>
            </a:lvl2pPr>
            <a:lvl3pPr>
              <a:buClr>
                <a:schemeClr val="tx2">
                  <a:lumMod val="75000"/>
                </a:schemeClr>
              </a:buClr>
              <a:buSzPct val="100000"/>
              <a:defRPr sz="1350"/>
            </a:lvl3pPr>
            <a:lvl4pPr>
              <a:buClr>
                <a:schemeClr val="tx2">
                  <a:lumMod val="75000"/>
                </a:schemeClr>
              </a:buClr>
              <a:buSzPct val="100000"/>
              <a:defRPr sz="1350"/>
            </a:lvl4pPr>
            <a:lvl5pPr>
              <a:buClr>
                <a:schemeClr val="tx2">
                  <a:lumMod val="75000"/>
                </a:schemeClr>
              </a:buClr>
              <a:buSzPct val="100000"/>
              <a:defRPr sz="135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Titel 7"/>
          <p:cNvSpPr>
            <a:spLocks noGrp="1"/>
          </p:cNvSpPr>
          <p:nvPr>
            <p:ph type="title"/>
          </p:nvPr>
        </p:nvSpPr>
        <p:spPr/>
        <p:txBody>
          <a:bodyPr vert="horz" lIns="91440" tIns="45720" rIns="91440" bIns="45720" rtlCol="0" anchor="ctr">
            <a:noAutofit/>
          </a:bodyPr>
          <a:lstStyle>
            <a:lvl1pPr algn="l">
              <a:defRPr lang="de-DE" dirty="0"/>
            </a:lvl1pPr>
          </a:lstStyle>
          <a:p>
            <a:pPr lvl="0"/>
            <a:r>
              <a:rPr lang="de-DE"/>
              <a:t>Titelmasterformat durch Klicken bearbeiten</a:t>
            </a:r>
          </a:p>
        </p:txBody>
      </p:sp>
      <p:pic>
        <p:nvPicPr>
          <p:cNvPr id="11" name="Picture 5" descr="C:\Users\danschober\Desktop\12021_lokal\GmbH\GmbH-Logo.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471" t="5269" r="77705" b="7454"/>
          <a:stretch/>
        </p:blipFill>
        <p:spPr bwMode="auto">
          <a:xfrm>
            <a:off x="8604448" y="4677984"/>
            <a:ext cx="548810" cy="472500"/>
          </a:xfrm>
          <a:prstGeom prst="rect">
            <a:avLst/>
          </a:prstGeom>
          <a:noFill/>
          <a:extLst>
            <a:ext uri="{909E8E84-426E-40DD-AFC4-6F175D3DCCD1}">
              <a14:hiddenFill xmlns:a14="http://schemas.microsoft.com/office/drawing/2010/main">
                <a:solidFill>
                  <a:srgbClr val="FFFFFF"/>
                </a:solidFill>
              </a14:hiddenFill>
            </a:ext>
          </a:extLst>
        </p:spPr>
      </p:pic>
      <p:sp>
        <p:nvSpPr>
          <p:cNvPr id="2" name="Foliennummernplatzhalter 1"/>
          <p:cNvSpPr>
            <a:spLocks noGrp="1"/>
          </p:cNvSpPr>
          <p:nvPr>
            <p:ph type="sldNum" sz="quarter" idx="10"/>
          </p:nvPr>
        </p:nvSpPr>
        <p:spPr/>
        <p:txBody>
          <a:bodyPr/>
          <a:lstStyle/>
          <a:p>
            <a:fld id="{AE9F1C9A-C676-44CA-A5D7-152346C73B3F}" type="slidenum">
              <a:rPr lang="de-DE" smtClean="0"/>
              <a:pPr/>
              <a:t>‹Nr.›</a:t>
            </a:fld>
            <a:endParaRPr lang="de-DE"/>
          </a:p>
        </p:txBody>
      </p:sp>
    </p:spTree>
    <p:extLst>
      <p:ext uri="{BB962C8B-B14F-4D97-AF65-F5344CB8AC3E}">
        <p14:creationId xmlns:p14="http://schemas.microsoft.com/office/powerpoint/2010/main" val="65853601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5" name="Rectangle 3"/>
          <p:cNvSpPr>
            <a:spLocks noChangeArrowheads="1"/>
          </p:cNvSpPr>
          <p:nvPr userDrawn="1"/>
        </p:nvSpPr>
        <p:spPr bwMode="auto">
          <a:xfrm>
            <a:off x="0" y="4677984"/>
            <a:ext cx="9036496" cy="4725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marL="457200" indent="-457200" eaLnBrk="0" hangingPunct="0">
              <a:defRPr sz="1600">
                <a:solidFill>
                  <a:schemeClr val="tx1"/>
                </a:solidFill>
                <a:latin typeface="Times New Roman" pitchFamily="18" charset="0"/>
              </a:defRPr>
            </a:lvl1pPr>
            <a:lvl2pPr marL="742950" indent="-285750" eaLnBrk="0" hangingPunct="0">
              <a:defRPr sz="1600">
                <a:solidFill>
                  <a:schemeClr val="tx1"/>
                </a:solidFill>
                <a:latin typeface="Times New Roman" pitchFamily="18" charset="0"/>
              </a:defRPr>
            </a:lvl2pPr>
            <a:lvl3pPr marL="1143000" indent="-228600" eaLnBrk="0" hangingPunct="0">
              <a:defRPr sz="1600">
                <a:solidFill>
                  <a:schemeClr val="tx1"/>
                </a:solidFill>
                <a:latin typeface="Times New Roman" pitchFamily="18" charset="0"/>
              </a:defRPr>
            </a:lvl3pPr>
            <a:lvl4pPr marL="1600200" indent="-228600" eaLnBrk="0" hangingPunct="0">
              <a:defRPr sz="1600">
                <a:solidFill>
                  <a:schemeClr val="tx1"/>
                </a:solidFill>
                <a:latin typeface="Times New Roman" pitchFamily="18" charset="0"/>
              </a:defRPr>
            </a:lvl4pPr>
            <a:lvl5pPr marL="2057400" indent="-228600" eaLnBrk="0" hangingPunct="0">
              <a:defRPr sz="1600">
                <a:solidFill>
                  <a:schemeClr val="tx1"/>
                </a:solidFill>
                <a:latin typeface="Times New Roman" pitchFamily="18" charset="0"/>
              </a:defRPr>
            </a:lvl5pPr>
            <a:lvl6pPr marL="2514600" indent="-228600" eaLnBrk="0" fontAlgn="base" hangingPunct="0">
              <a:spcBef>
                <a:spcPct val="0"/>
              </a:spcBef>
              <a:spcAft>
                <a:spcPct val="0"/>
              </a:spcAft>
              <a:defRPr sz="1600">
                <a:solidFill>
                  <a:schemeClr val="tx1"/>
                </a:solidFill>
                <a:latin typeface="Times New Roman" pitchFamily="18" charset="0"/>
              </a:defRPr>
            </a:lvl6pPr>
            <a:lvl7pPr marL="2971800" indent="-228600" eaLnBrk="0" fontAlgn="base" hangingPunct="0">
              <a:spcBef>
                <a:spcPct val="0"/>
              </a:spcBef>
              <a:spcAft>
                <a:spcPct val="0"/>
              </a:spcAft>
              <a:defRPr sz="1600">
                <a:solidFill>
                  <a:schemeClr val="tx1"/>
                </a:solidFill>
                <a:latin typeface="Times New Roman" pitchFamily="18" charset="0"/>
              </a:defRPr>
            </a:lvl7pPr>
            <a:lvl8pPr marL="3429000" indent="-228600" eaLnBrk="0" fontAlgn="base" hangingPunct="0">
              <a:spcBef>
                <a:spcPct val="0"/>
              </a:spcBef>
              <a:spcAft>
                <a:spcPct val="0"/>
              </a:spcAft>
              <a:defRPr sz="1600">
                <a:solidFill>
                  <a:schemeClr val="tx1"/>
                </a:solidFill>
                <a:latin typeface="Times New Roman" pitchFamily="18" charset="0"/>
              </a:defRPr>
            </a:lvl8pPr>
            <a:lvl9pPr marL="3886200" indent="-228600" eaLnBrk="0" fontAlgn="base" hangingPunct="0">
              <a:spcBef>
                <a:spcPct val="0"/>
              </a:spcBef>
              <a:spcAft>
                <a:spcPct val="0"/>
              </a:spcAft>
              <a:defRPr sz="1600">
                <a:solidFill>
                  <a:schemeClr val="tx1"/>
                </a:solidFill>
                <a:latin typeface="Times New Roman" pitchFamily="18" charset="0"/>
              </a:defRPr>
            </a:lvl9pPr>
          </a:lstStyle>
          <a:p>
            <a:pPr eaLnBrk="1" hangingPunct="1"/>
            <a:endParaRPr lang="de-DE" altLang="de-DE" sz="900">
              <a:latin typeface="Arial" charset="0"/>
            </a:endParaRPr>
          </a:p>
        </p:txBody>
      </p:sp>
      <p:sp>
        <p:nvSpPr>
          <p:cNvPr id="6" name="Titel 5"/>
          <p:cNvSpPr>
            <a:spLocks noGrp="1"/>
          </p:cNvSpPr>
          <p:nvPr>
            <p:ph type="title"/>
          </p:nvPr>
        </p:nvSpPr>
        <p:spPr/>
        <p:txBody>
          <a:bodyPr/>
          <a:lstStyle>
            <a:lvl1pPr algn="l">
              <a:defRPr b="1">
                <a:latin typeface="+mn-lt"/>
              </a:defRPr>
            </a:lvl1pPr>
          </a:lstStyle>
          <a:p>
            <a:r>
              <a:rPr lang="de-DE"/>
              <a:t>Titelmasterformat durch Klicken bearbeiten</a:t>
            </a:r>
          </a:p>
        </p:txBody>
      </p:sp>
      <p:sp>
        <p:nvSpPr>
          <p:cNvPr id="2" name="Foliennummernplatzhalter 1"/>
          <p:cNvSpPr>
            <a:spLocks noGrp="1"/>
          </p:cNvSpPr>
          <p:nvPr>
            <p:ph type="sldNum" sz="quarter" idx="10"/>
          </p:nvPr>
        </p:nvSpPr>
        <p:spPr/>
        <p:txBody>
          <a:bodyPr/>
          <a:lstStyle/>
          <a:p>
            <a:fld id="{AE9F1C9A-C676-44CA-A5D7-152346C73B3F}" type="slidenum">
              <a:rPr lang="de-DE" smtClean="0"/>
              <a:pPr/>
              <a:t>‹Nr.›</a:t>
            </a:fld>
            <a:endParaRPr lang="de-DE"/>
          </a:p>
        </p:txBody>
      </p:sp>
      <p:pic>
        <p:nvPicPr>
          <p:cNvPr id="7" name="Picture 5" descr="C:\Users\danschober\Desktop\12021_lokal\GmbH\GmbH-Logo.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471" t="5269" r="77705" b="7454"/>
          <a:stretch/>
        </p:blipFill>
        <p:spPr bwMode="auto">
          <a:xfrm>
            <a:off x="8604448" y="4677984"/>
            <a:ext cx="548810" cy="47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987022"/>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hasCustomPrompt="1"/>
          </p:nvPr>
        </p:nvSpPr>
        <p:spPr/>
        <p:txBody>
          <a:bodyPr/>
          <a:lstStyle>
            <a:lvl5pPr>
              <a:defRPr/>
            </a:lvl5pPr>
            <a:lvl6pPr>
              <a:defRPr/>
            </a:lvl6pPr>
            <a:lvl7pPr>
              <a:defRPr/>
            </a:lvl7pPr>
            <a:lvl8pPr>
              <a:defRPr/>
            </a:lvl8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1"/>
          </p:nvPr>
        </p:nvSpPr>
        <p:spPr/>
        <p:txBody>
          <a:bodyPr/>
          <a:lstStyle/>
          <a:p>
            <a:r>
              <a:rPr lang="en-US"/>
              <a:t>Kraftwerk Datteln - CT-2.0</a:t>
            </a:r>
            <a:endParaRPr lang="de-DE"/>
          </a:p>
        </p:txBody>
      </p:sp>
      <p:sp>
        <p:nvSpPr>
          <p:cNvPr id="6" name="Foliennummernplatzhalter 5"/>
          <p:cNvSpPr>
            <a:spLocks noGrp="1"/>
          </p:cNvSpPr>
          <p:nvPr>
            <p:ph type="sldNum" sz="quarter" idx="12"/>
          </p:nvPr>
        </p:nvSpPr>
        <p:spPr/>
        <p:txBody>
          <a:bodyPr/>
          <a:lstStyle/>
          <a:p>
            <a:fld id="{9D543ADB-E95E-4587-963D-D3C6AB2E96C0}" type="slidenum">
              <a:rPr lang="de-DE" smtClean="0"/>
              <a:pPr/>
              <a:t>‹Nr.›</a:t>
            </a:fld>
            <a:endParaRPr lang="de-DE"/>
          </a:p>
        </p:txBody>
      </p:sp>
    </p:spTree>
    <p:extLst>
      <p:ext uri="{BB962C8B-B14F-4D97-AF65-F5344CB8AC3E}">
        <p14:creationId xmlns:p14="http://schemas.microsoft.com/office/powerpoint/2010/main" val="382516696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sz="half" idx="1" hasCustomPrompt="1"/>
          </p:nvPr>
        </p:nvSpPr>
        <p:spPr>
          <a:xfrm>
            <a:off x="504000" y="1044000"/>
            <a:ext cx="3888000" cy="3258000"/>
          </a:xfrm>
        </p:spPr>
        <p:txBody>
          <a:bodyPr>
            <a:noAutofit/>
          </a:bodyPr>
          <a:lstStyle>
            <a:lvl1pPr>
              <a:defRPr sz="1600"/>
            </a:lvl1pPr>
            <a:lvl2pPr>
              <a:defRPr sz="1600"/>
            </a:lvl2pPr>
            <a:lvl3pPr>
              <a:defRPr sz="1600"/>
            </a:lvl3pPr>
            <a:lvl4pPr>
              <a:defRPr sz="1600"/>
            </a:lvl4pPr>
            <a:lvl5pPr>
              <a:defRPr sz="1600"/>
            </a:lvl5pPr>
            <a:lvl6pPr>
              <a:buFont typeface="Wingdings" pitchFamily="2" charset="2"/>
              <a:buChar cha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hasCustomPrompt="1"/>
          </p:nvPr>
        </p:nvSpPr>
        <p:spPr>
          <a:xfrm>
            <a:off x="4752000" y="1044000"/>
            <a:ext cx="3888000" cy="3258000"/>
          </a:xfrm>
        </p:spPr>
        <p:txBody>
          <a:bodyPr>
            <a:noAutofit/>
          </a:bodyPr>
          <a:lstStyle>
            <a:lvl1pPr>
              <a:defRPr sz="1600"/>
            </a:lvl1pPr>
            <a:lvl2pPr>
              <a:defRPr sz="1600"/>
            </a:lvl2pPr>
            <a:lvl3pPr>
              <a:defRPr sz="1600"/>
            </a:lvl3pPr>
            <a:lvl4pPr>
              <a:defRPr sz="1600"/>
            </a:lvl4pPr>
            <a:lvl5pPr>
              <a:defRPr sz="1600"/>
            </a:lvl5pPr>
            <a:lvl6pPr>
              <a:defRPr sz="1600" baseline="0"/>
            </a:lvl6pPr>
            <a:lvl7pPr>
              <a:defRPr sz="1600" baseline="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11"/>
          </p:nvPr>
        </p:nvSpPr>
        <p:spPr/>
        <p:txBody>
          <a:bodyPr/>
          <a:lstStyle/>
          <a:p>
            <a:r>
              <a:rPr lang="en-US"/>
              <a:t>Kraftwerk Datteln - CT-2.0</a:t>
            </a:r>
            <a:endParaRPr lang="de-DE"/>
          </a:p>
        </p:txBody>
      </p:sp>
      <p:sp>
        <p:nvSpPr>
          <p:cNvPr id="7" name="Foliennummernplatzhalter 6"/>
          <p:cNvSpPr>
            <a:spLocks noGrp="1"/>
          </p:cNvSpPr>
          <p:nvPr>
            <p:ph type="sldNum" sz="quarter" idx="12"/>
          </p:nvPr>
        </p:nvSpPr>
        <p:spPr/>
        <p:txBody>
          <a:bodyPr/>
          <a:lstStyle/>
          <a:p>
            <a:fld id="{9D543ADB-E95E-4587-963D-D3C6AB2E96C0}" type="slidenum">
              <a:rPr lang="de-DE" smtClean="0"/>
              <a:pPr/>
              <a:t>‹Nr.›</a:t>
            </a:fld>
            <a:endParaRPr lang="de-DE"/>
          </a:p>
        </p:txBody>
      </p:sp>
    </p:spTree>
    <p:extLst>
      <p:ext uri="{BB962C8B-B14F-4D97-AF65-F5344CB8AC3E}">
        <p14:creationId xmlns:p14="http://schemas.microsoft.com/office/powerpoint/2010/main" val="73526862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sz="half" idx="1" hasCustomPrompt="1"/>
          </p:nvPr>
        </p:nvSpPr>
        <p:spPr>
          <a:xfrm>
            <a:off x="504000" y="1044000"/>
            <a:ext cx="2592000" cy="3258000"/>
          </a:xfrm>
        </p:spPr>
        <p:txBody>
          <a:bodyPr>
            <a:noAutofit/>
          </a:bodyPr>
          <a:lstStyle>
            <a:lvl1pPr>
              <a:defRPr sz="1600"/>
            </a:lvl1pPr>
            <a:lvl2pPr>
              <a:defRPr sz="1600"/>
            </a:lvl2pPr>
            <a:lvl3pPr>
              <a:defRPr sz="1600"/>
            </a:lvl3pPr>
            <a:lvl4pPr>
              <a:defRPr sz="1600"/>
            </a:lvl4pPr>
            <a:lvl5pPr>
              <a:defRPr sz="1600"/>
            </a:lvl5pPr>
            <a:lvl6pPr>
              <a:buFont typeface="Wingdings" pitchFamily="2" charset="2"/>
              <a:buChar cha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hasCustomPrompt="1"/>
          </p:nvPr>
        </p:nvSpPr>
        <p:spPr>
          <a:xfrm>
            <a:off x="3276000" y="1044000"/>
            <a:ext cx="2592000" cy="325800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baseline="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11"/>
          </p:nvPr>
        </p:nvSpPr>
        <p:spPr/>
        <p:txBody>
          <a:bodyPr/>
          <a:lstStyle/>
          <a:p>
            <a:r>
              <a:rPr lang="en-US"/>
              <a:t>Kraftwerk Datteln - CT-2.0</a:t>
            </a:r>
            <a:endParaRPr lang="de-DE"/>
          </a:p>
        </p:txBody>
      </p:sp>
      <p:sp>
        <p:nvSpPr>
          <p:cNvPr id="7" name="Foliennummernplatzhalter 6"/>
          <p:cNvSpPr>
            <a:spLocks noGrp="1"/>
          </p:cNvSpPr>
          <p:nvPr>
            <p:ph type="sldNum" sz="quarter" idx="12"/>
          </p:nvPr>
        </p:nvSpPr>
        <p:spPr/>
        <p:txBody>
          <a:bodyPr/>
          <a:lstStyle/>
          <a:p>
            <a:fld id="{9D543ADB-E95E-4587-963D-D3C6AB2E96C0}" type="slidenum">
              <a:rPr lang="de-DE" smtClean="0"/>
              <a:pPr/>
              <a:t>‹Nr.›</a:t>
            </a:fld>
            <a:endParaRPr lang="de-DE"/>
          </a:p>
        </p:txBody>
      </p:sp>
      <p:sp>
        <p:nvSpPr>
          <p:cNvPr id="8" name="Inhaltsplatzhalter 3"/>
          <p:cNvSpPr>
            <a:spLocks noGrp="1"/>
          </p:cNvSpPr>
          <p:nvPr>
            <p:ph sz="half" idx="13" hasCustomPrompt="1"/>
          </p:nvPr>
        </p:nvSpPr>
        <p:spPr>
          <a:xfrm>
            <a:off x="6048000" y="1044000"/>
            <a:ext cx="2592000" cy="3258000"/>
          </a:xfrm>
        </p:spPr>
        <p:txBody>
          <a:bodyPr>
            <a:noAutofit/>
          </a:bodyPr>
          <a:lstStyle>
            <a:lvl1pPr>
              <a:defRPr sz="1600"/>
            </a:lvl1pPr>
            <a:lvl2pPr>
              <a:defRPr sz="1600"/>
            </a:lvl2pPr>
            <a:lvl3pPr>
              <a:defRPr sz="1600"/>
            </a:lvl3pPr>
            <a:lvl4pPr>
              <a:defRPr sz="1600"/>
            </a:lvl4pPr>
            <a:lvl5pPr>
              <a:defRPr sz="1600"/>
            </a:lvl5pPr>
            <a:lvl6pPr>
              <a:defRPr sz="1600" baseline="0"/>
            </a:lvl6pPr>
            <a:lvl7pPr>
              <a:defRPr sz="1600" baseline="0"/>
            </a:lvl7pPr>
            <a:lvl8pPr>
              <a:defRPr sz="1600" baseline="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0555635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Mastertitelformat bearbeiten</a:t>
            </a:r>
          </a:p>
        </p:txBody>
      </p:sp>
      <p:sp>
        <p:nvSpPr>
          <p:cNvPr id="3" name="Textplatzhalter 2"/>
          <p:cNvSpPr>
            <a:spLocks noGrp="1"/>
          </p:cNvSpPr>
          <p:nvPr>
            <p:ph type="body" idx="1"/>
          </p:nvPr>
        </p:nvSpPr>
        <p:spPr>
          <a:xfrm>
            <a:off x="504000" y="1044000"/>
            <a:ext cx="3888000" cy="216000"/>
          </a:xfrm>
        </p:spPr>
        <p:txBody>
          <a:bodyPr anchor="t" anchorCtr="0">
            <a:no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p:cNvSpPr>
            <a:spLocks noGrp="1"/>
          </p:cNvSpPr>
          <p:nvPr>
            <p:ph sz="half" idx="2" hasCustomPrompt="1"/>
          </p:nvPr>
        </p:nvSpPr>
        <p:spPr>
          <a:xfrm>
            <a:off x="504000" y="1249200"/>
            <a:ext cx="3888000" cy="3052800"/>
          </a:xfrm>
        </p:spPr>
        <p:txBody>
          <a:bodyPr>
            <a:noAutofit/>
          </a:bodyPr>
          <a:lstStyle>
            <a:lvl1pPr>
              <a:defRPr sz="1600"/>
            </a:lvl1pPr>
            <a:lvl2pPr>
              <a:defRPr sz="1600"/>
            </a:lvl2pPr>
            <a:lvl3pPr>
              <a:defRPr sz="1600"/>
            </a:lvl3pPr>
            <a:lvl4pPr>
              <a:defRPr sz="1600"/>
            </a:lvl4pPr>
            <a:lvl5pPr>
              <a:defRPr sz="1600"/>
            </a:lvl5pPr>
            <a:lvl6pPr>
              <a:defRPr sz="1600" baseline="0"/>
            </a:lvl6pPr>
            <a:lvl7pPr>
              <a:defRPr sz="1600" baseline="0"/>
            </a:lvl7pPr>
            <a:lvl8pPr>
              <a:defRPr sz="1600" baseline="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752000" y="1044000"/>
            <a:ext cx="3888000" cy="216000"/>
          </a:xfrm>
        </p:spPr>
        <p:txBody>
          <a:bodyPr anchor="t" anchorCtr="0">
            <a:no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p:cNvSpPr>
            <a:spLocks noGrp="1"/>
          </p:cNvSpPr>
          <p:nvPr>
            <p:ph sz="quarter" idx="4" hasCustomPrompt="1"/>
          </p:nvPr>
        </p:nvSpPr>
        <p:spPr>
          <a:xfrm>
            <a:off x="4752000" y="1249200"/>
            <a:ext cx="3888000" cy="305280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8" name="Fußzeilenplatzhalter 7"/>
          <p:cNvSpPr>
            <a:spLocks noGrp="1"/>
          </p:cNvSpPr>
          <p:nvPr>
            <p:ph type="ftr" sz="quarter" idx="11"/>
          </p:nvPr>
        </p:nvSpPr>
        <p:spPr/>
        <p:txBody>
          <a:bodyPr/>
          <a:lstStyle/>
          <a:p>
            <a:r>
              <a:rPr lang="en-US"/>
              <a:t>Kraftwerk Datteln - CT-2.0</a:t>
            </a:r>
            <a:endParaRPr lang="de-DE"/>
          </a:p>
        </p:txBody>
      </p:sp>
      <p:sp>
        <p:nvSpPr>
          <p:cNvPr id="9" name="Foliennummernplatzhalter 8"/>
          <p:cNvSpPr>
            <a:spLocks noGrp="1"/>
          </p:cNvSpPr>
          <p:nvPr>
            <p:ph type="sldNum" sz="quarter" idx="12"/>
          </p:nvPr>
        </p:nvSpPr>
        <p:spPr/>
        <p:txBody>
          <a:bodyPr/>
          <a:lstStyle/>
          <a:p>
            <a:fld id="{9D543ADB-E95E-4587-963D-D3C6AB2E96C0}" type="slidenum">
              <a:rPr lang="de-DE" smtClean="0"/>
              <a:pPr/>
              <a:t>‹Nr.›</a:t>
            </a:fld>
            <a:endParaRPr lang="de-DE"/>
          </a:p>
        </p:txBody>
      </p:sp>
    </p:spTree>
    <p:extLst>
      <p:ext uri="{BB962C8B-B14F-4D97-AF65-F5344CB8AC3E}">
        <p14:creationId xmlns:p14="http://schemas.microsoft.com/office/powerpoint/2010/main" val="574597121"/>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9D543ADB-E95E-4587-963D-D3C6AB2E96C0}" type="slidenum">
              <a:rPr lang="de-DE" smtClean="0"/>
              <a:pPr/>
              <a:t>‹Nr.›</a:t>
            </a:fld>
            <a:endParaRPr lang="de-DE"/>
          </a:p>
        </p:txBody>
      </p:sp>
    </p:spTree>
    <p:extLst>
      <p:ext uri="{BB962C8B-B14F-4D97-AF65-F5344CB8AC3E}">
        <p14:creationId xmlns:p14="http://schemas.microsoft.com/office/powerpoint/2010/main" val="155338954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r>
              <a:rPr lang="en-US"/>
              <a:t>Kraftwerk Datteln - CT-2.0</a:t>
            </a:r>
            <a:endParaRPr lang="de-DE"/>
          </a:p>
        </p:txBody>
      </p:sp>
      <p:sp>
        <p:nvSpPr>
          <p:cNvPr id="4" name="Foliennummernplatzhalter 3"/>
          <p:cNvSpPr>
            <a:spLocks noGrp="1"/>
          </p:cNvSpPr>
          <p:nvPr>
            <p:ph type="sldNum" sz="quarter" idx="12"/>
          </p:nvPr>
        </p:nvSpPr>
        <p:spPr/>
        <p:txBody>
          <a:bodyPr/>
          <a:lstStyle/>
          <a:p>
            <a:fld id="{9D543ADB-E95E-4587-963D-D3C6AB2E96C0}" type="slidenum">
              <a:rPr lang="de-DE" smtClean="0"/>
              <a:pPr/>
              <a:t>‹Nr.›</a:t>
            </a:fld>
            <a:endParaRPr lang="de-DE"/>
          </a:p>
        </p:txBody>
      </p:sp>
    </p:spTree>
    <p:extLst>
      <p:ext uri="{BB962C8B-B14F-4D97-AF65-F5344CB8AC3E}">
        <p14:creationId xmlns:p14="http://schemas.microsoft.com/office/powerpoint/2010/main" val="109948024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 slides, Image placeholder">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55BA4423-FC91-4CF7-A2EB-6E5BD26D99E2}"/>
              </a:ext>
            </a:extLst>
          </p:cNvPr>
          <p:cNvSpPr>
            <a:spLocks noGrp="1"/>
          </p:cNvSpPr>
          <p:nvPr>
            <p:ph type="pic" sz="quarter" idx="12"/>
            <p:custDataLst>
              <p:tags r:id="rId1"/>
            </p:custDataLst>
          </p:nvPr>
        </p:nvSpPr>
        <p:spPr>
          <a:xfrm>
            <a:off x="0" y="-1"/>
            <a:ext cx="9148800" cy="5146200"/>
          </a:xfrm>
          <a:prstGeom prst="rect">
            <a:avLst/>
          </a:prstGeom>
          <a:solidFill>
            <a:srgbClr val="E6F4FE"/>
          </a:solidFill>
        </p:spPr>
        <p:txBody>
          <a:bodyPr bIns="792000" anchor="ctr">
            <a:normAutofit/>
          </a:bodyPr>
          <a:lstStyle>
            <a:lvl1pPr algn="ctr">
              <a:defRPr lang="de-DE" sz="1600" kern="1200" dirty="0">
                <a:solidFill>
                  <a:srgbClr val="FFFFFF"/>
                </a:solidFill>
                <a:latin typeface="+mn-lt"/>
                <a:ea typeface="+mn-ea"/>
                <a:cs typeface="+mn-cs"/>
              </a:defRPr>
            </a:lvl1pPr>
          </a:lstStyle>
          <a:p>
            <a:r>
              <a:rPr lang="de-DE"/>
              <a:t>Bild durch Klicken auf Symbol hinzufügen</a:t>
            </a:r>
          </a:p>
        </p:txBody>
      </p:sp>
      <p:sp>
        <p:nvSpPr>
          <p:cNvPr id="4" name="Fußzeilenplatzhalter 3">
            <a:extLst>
              <a:ext uri="{FF2B5EF4-FFF2-40B4-BE49-F238E27FC236}">
                <a16:creationId xmlns:a16="http://schemas.microsoft.com/office/drawing/2014/main" id="{FB978F84-2192-4845-A10C-F6AA5CAEE94B}"/>
              </a:ext>
            </a:extLst>
          </p:cNvPr>
          <p:cNvSpPr>
            <a:spLocks noGrp="1"/>
          </p:cNvSpPr>
          <p:nvPr>
            <p:ph type="ftr" sz="quarter" idx="10"/>
          </p:nvPr>
        </p:nvSpPr>
        <p:spPr/>
        <p:txBody>
          <a:bodyPr/>
          <a:lstStyle>
            <a:lvl1pPr>
              <a:defRPr>
                <a:noFill/>
              </a:defRPr>
            </a:lvl1pPr>
          </a:lstStyle>
          <a:p>
            <a:endParaRPr lang="de-DE"/>
          </a:p>
        </p:txBody>
      </p:sp>
      <p:sp>
        <p:nvSpPr>
          <p:cNvPr id="5" name="Foliennummernplatzhalter 4">
            <a:extLst>
              <a:ext uri="{FF2B5EF4-FFF2-40B4-BE49-F238E27FC236}">
                <a16:creationId xmlns:a16="http://schemas.microsoft.com/office/drawing/2014/main" id="{E4F7F103-97CE-454A-BA2B-1B30B72050C8}"/>
              </a:ext>
            </a:extLst>
          </p:cNvPr>
          <p:cNvSpPr>
            <a:spLocks noGrp="1"/>
          </p:cNvSpPr>
          <p:nvPr>
            <p:ph type="sldNum" sz="quarter" idx="11"/>
          </p:nvPr>
        </p:nvSpPr>
        <p:spPr/>
        <p:txBody>
          <a:bodyPr/>
          <a:lstStyle>
            <a:lvl1pPr>
              <a:defRPr>
                <a:noFill/>
              </a:defRPr>
            </a:lvl1pPr>
          </a:lstStyle>
          <a:p>
            <a:fld id="{9D543ADB-E95E-4587-963D-D3C6AB2E96C0}" type="slidenum">
              <a:rPr lang="de-DE"/>
              <a:pPr/>
              <a:t>‹Nr.›</a:t>
            </a:fld>
            <a:endParaRPr lang="de-DE"/>
          </a:p>
        </p:txBody>
      </p:sp>
      <p:sp>
        <p:nvSpPr>
          <p:cNvPr id="8" name="Title 7">
            <a:extLst>
              <a:ext uri="{FF2B5EF4-FFF2-40B4-BE49-F238E27FC236}">
                <a16:creationId xmlns:a16="http://schemas.microsoft.com/office/drawing/2014/main" id="{79373716-285B-43E3-9F79-E57CF3DD116A}"/>
              </a:ext>
            </a:extLst>
          </p:cNvPr>
          <p:cNvSpPr>
            <a:spLocks noGrp="1"/>
          </p:cNvSpPr>
          <p:nvPr>
            <p:ph type="title"/>
          </p:nvPr>
        </p:nvSpPr>
        <p:spPr>
          <a:xfrm>
            <a:off x="691200" y="3150901"/>
            <a:ext cx="7344000" cy="1177200"/>
          </a:xfrm>
        </p:spPr>
        <p:txBody>
          <a:bodyPr anchor="b"/>
          <a:lstStyle>
            <a:lvl1pPr>
              <a:defRPr>
                <a:solidFill>
                  <a:srgbClr val="FFEA00"/>
                </a:solidFill>
              </a:defRPr>
            </a:lvl1pPr>
          </a:lstStyle>
          <a:p>
            <a:r>
              <a:rPr lang="de-DE"/>
              <a:t>Mastertitelformat bearbeiten</a:t>
            </a:r>
            <a:endParaRPr lang="en-US"/>
          </a:p>
        </p:txBody>
      </p:sp>
      <p:sp>
        <p:nvSpPr>
          <p:cNvPr id="10" name="Subtitle 2">
            <a:extLst>
              <a:ext uri="{FF2B5EF4-FFF2-40B4-BE49-F238E27FC236}">
                <a16:creationId xmlns:a16="http://schemas.microsoft.com/office/drawing/2014/main" id="{52C7A64A-8FB3-4B03-BE38-8FBBFCD9E8B1}"/>
              </a:ext>
            </a:extLst>
          </p:cNvPr>
          <p:cNvSpPr>
            <a:spLocks noGrp="1"/>
          </p:cNvSpPr>
          <p:nvPr>
            <p:ph type="subTitle" idx="1"/>
          </p:nvPr>
        </p:nvSpPr>
        <p:spPr>
          <a:xfrm>
            <a:off x="674533" y="4451350"/>
            <a:ext cx="7344000" cy="216000"/>
          </a:xfrm>
        </p:spPr>
        <p:txBody>
          <a:bodyPr>
            <a:noAutofit/>
          </a:bodyPr>
          <a:lstStyle>
            <a:lvl1pPr>
              <a:defRPr lang="en-US" sz="1600" kern="1200" dirty="0">
                <a:solidFill>
                  <a:srgbClr val="FFFFFF"/>
                </a:solidFill>
                <a:latin typeface="+mn-lt"/>
                <a:ea typeface="+mn-ea"/>
                <a:cs typeface="+mn-cs"/>
              </a:defRPr>
            </a:lvl1pPr>
          </a:lstStyle>
          <a:p>
            <a:r>
              <a:rPr lang="de-DE"/>
              <a:t>Master-Untertitelformat bearbeiten</a:t>
            </a:r>
            <a:endParaRPr lang="en-US"/>
          </a:p>
        </p:txBody>
      </p:sp>
      <p:sp>
        <p:nvSpPr>
          <p:cNvPr id="3" name="Text Placeholder 2">
            <a:extLst>
              <a:ext uri="{FF2B5EF4-FFF2-40B4-BE49-F238E27FC236}">
                <a16:creationId xmlns:a16="http://schemas.microsoft.com/office/drawing/2014/main" id="{55199B14-FCB7-4793-95E6-81EAA931C5BD}"/>
              </a:ext>
            </a:extLst>
          </p:cNvPr>
          <p:cNvSpPr>
            <a:spLocks noGrp="1"/>
          </p:cNvSpPr>
          <p:nvPr>
            <p:ph type="body" sz="quarter" idx="13" hasCustomPrompt="1"/>
          </p:nvPr>
        </p:nvSpPr>
        <p:spPr>
          <a:xfrm>
            <a:off x="460853" y="410031"/>
            <a:ext cx="1512000" cy="1308494"/>
          </a:xfrm>
          <a:blipFill dpi="0" rotWithShape="1">
            <a:blip r:embed="rId3">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a:t> </a:t>
            </a:r>
          </a:p>
        </p:txBody>
      </p:sp>
    </p:spTree>
    <p:extLst>
      <p:ext uri="{BB962C8B-B14F-4D97-AF65-F5344CB8AC3E}">
        <p14:creationId xmlns:p14="http://schemas.microsoft.com/office/powerpoint/2010/main" val="354130699"/>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04000" y="306000"/>
            <a:ext cx="8136000" cy="675000"/>
          </a:xfrm>
          <a:prstGeom prst="rect">
            <a:avLst/>
          </a:prstGeom>
        </p:spPr>
        <p:txBody>
          <a:bodyPr vert="horz" lIns="0" tIns="0" rIns="0" bIns="0" rtlCol="0" anchor="t" anchorCtr="0">
            <a:noAutofit/>
          </a:bodyPr>
          <a:lstStyle/>
          <a:p>
            <a:r>
              <a:rPr lang="de-DE"/>
              <a:t>Titelmasterformat durch Klicken bearbeiten</a:t>
            </a:r>
          </a:p>
        </p:txBody>
      </p:sp>
      <p:sp>
        <p:nvSpPr>
          <p:cNvPr id="3" name="Textplatzhalter 2"/>
          <p:cNvSpPr>
            <a:spLocks noGrp="1"/>
          </p:cNvSpPr>
          <p:nvPr>
            <p:ph type="body" idx="1"/>
          </p:nvPr>
        </p:nvSpPr>
        <p:spPr>
          <a:xfrm>
            <a:off x="504000" y="1044000"/>
            <a:ext cx="8136000" cy="3258000"/>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3"/>
          </p:nvPr>
        </p:nvSpPr>
        <p:spPr>
          <a:xfrm>
            <a:off x="1476000" y="4618800"/>
            <a:ext cx="6480000" cy="310500"/>
          </a:xfrm>
          <a:prstGeom prst="rect">
            <a:avLst/>
          </a:prstGeom>
        </p:spPr>
        <p:txBody>
          <a:bodyPr vert="horz" lIns="0" tIns="0" rIns="0" bIns="0" rtlCol="0" anchor="b" anchorCtr="0"/>
          <a:lstStyle>
            <a:lvl1pPr algn="l">
              <a:defRPr sz="800">
                <a:solidFill>
                  <a:srgbClr val="5E5E5E"/>
                </a:solidFill>
              </a:defRPr>
            </a:lvl1pPr>
            <a:lvl2pPr>
              <a:defRPr sz="900">
                <a:solidFill>
                  <a:srgbClr val="5E5E5E"/>
                </a:solidFill>
              </a:defRPr>
            </a:lvl2pPr>
            <a:lvl3pPr>
              <a:defRPr sz="900">
                <a:solidFill>
                  <a:srgbClr val="5E5E5E"/>
                </a:solidFill>
              </a:defRPr>
            </a:lvl3pPr>
            <a:lvl4pPr>
              <a:defRPr sz="900">
                <a:solidFill>
                  <a:srgbClr val="5E5E5E"/>
                </a:solidFill>
              </a:defRPr>
            </a:lvl4pPr>
            <a:lvl5pPr>
              <a:defRPr sz="900">
                <a:solidFill>
                  <a:srgbClr val="5E5E5E"/>
                </a:solidFill>
              </a:defRPr>
            </a:lvl5pPr>
            <a:lvl6pPr>
              <a:defRPr sz="900">
                <a:solidFill>
                  <a:srgbClr val="5E5E5E"/>
                </a:solidFill>
              </a:defRPr>
            </a:lvl6pPr>
            <a:lvl7pPr>
              <a:defRPr sz="900">
                <a:solidFill>
                  <a:srgbClr val="5E5E5E"/>
                </a:solidFill>
              </a:defRPr>
            </a:lvl7pPr>
            <a:lvl8pPr>
              <a:defRPr sz="900">
                <a:solidFill>
                  <a:srgbClr val="5E5E5E"/>
                </a:solidFill>
              </a:defRPr>
            </a:lvl8pPr>
            <a:lvl9pPr>
              <a:defRPr sz="900">
                <a:solidFill>
                  <a:srgbClr val="5E5E5E"/>
                </a:solidFill>
              </a:defRPr>
            </a:lvl9pPr>
          </a:lstStyle>
          <a:p>
            <a:endParaRPr lang="de-DE"/>
          </a:p>
        </p:txBody>
      </p:sp>
      <p:sp>
        <p:nvSpPr>
          <p:cNvPr id="6" name="Foliennummernplatzhalter 5"/>
          <p:cNvSpPr>
            <a:spLocks noGrp="1"/>
          </p:cNvSpPr>
          <p:nvPr>
            <p:ph type="sldNum" sz="quarter" idx="4"/>
          </p:nvPr>
        </p:nvSpPr>
        <p:spPr>
          <a:xfrm>
            <a:off x="8280000" y="4618800"/>
            <a:ext cx="360000" cy="310500"/>
          </a:xfrm>
          <a:prstGeom prst="rect">
            <a:avLst/>
          </a:prstGeom>
        </p:spPr>
        <p:txBody>
          <a:bodyPr vert="horz" lIns="0" tIns="0" rIns="0" bIns="0" rtlCol="0" anchor="b" anchorCtr="0"/>
          <a:lstStyle>
            <a:lvl1pPr algn="r">
              <a:defRPr sz="800">
                <a:solidFill>
                  <a:srgbClr val="0078DC"/>
                </a:solidFill>
              </a:defRPr>
            </a:lvl1pPr>
          </a:lstStyle>
          <a:p>
            <a:fld id="{9D543ADB-E95E-4587-963D-D3C6AB2E96C0}" type="slidenum">
              <a:rPr lang="de-DE" smtClean="0"/>
              <a:pPr/>
              <a:t>‹Nr.›</a:t>
            </a:fld>
            <a:endParaRPr lang="de-DE"/>
          </a:p>
        </p:txBody>
      </p:sp>
      <p:pic>
        <p:nvPicPr>
          <p:cNvPr id="8" name="Grafik 7" descr="Uniper_Logo_Office_CO.png"/>
          <p:cNvPicPr>
            <a:picLocks noChangeAspect="1"/>
          </p:cNvPicPr>
          <p:nvPr/>
        </p:nvPicPr>
        <p:blipFill>
          <a:blip r:embed="rId23" cstate="print"/>
          <a:stretch>
            <a:fillRect/>
          </a:stretch>
        </p:blipFill>
        <p:spPr>
          <a:xfrm>
            <a:off x="504000" y="4518000"/>
            <a:ext cx="504000" cy="438734"/>
          </a:xfrm>
          <a:prstGeom prst="rect">
            <a:avLst/>
          </a:prstGeom>
        </p:spPr>
      </p:pic>
    </p:spTree>
    <p:extLst>
      <p:ext uri="{BB962C8B-B14F-4D97-AF65-F5344CB8AC3E}">
        <p14:creationId xmlns:p14="http://schemas.microsoft.com/office/powerpoint/2010/main" val="2314754803"/>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659" r:id="rId12"/>
    <p:sldLayoutId id="2147483660" r:id="rId13"/>
    <p:sldLayoutId id="2147483662" r:id="rId14"/>
    <p:sldLayoutId id="2147483663" r:id="rId15"/>
    <p:sldLayoutId id="2147483664" r:id="rId16"/>
    <p:sldLayoutId id="2147483665" r:id="rId17"/>
    <p:sldLayoutId id="2147483674" r:id="rId18"/>
    <p:sldLayoutId id="2147483677" r:id="rId19"/>
    <p:sldLayoutId id="2147483691" r:id="rId20"/>
    <p:sldLayoutId id="2147483694" r:id="rId21"/>
  </p:sldLayoutIdLst>
  <p:hf hdr="0" ftr="0" dt="0"/>
  <p:txStyles>
    <p:titleStyle>
      <a:lvl1pPr algn="l" defTabSz="914400" rtl="0" eaLnBrk="1" latinLnBrk="0" hangingPunct="1">
        <a:spcBef>
          <a:spcPct val="0"/>
        </a:spcBef>
        <a:buNone/>
        <a:defRPr sz="2400" b="1" kern="1200">
          <a:solidFill>
            <a:srgbClr val="0078DC"/>
          </a:solidFill>
          <a:latin typeface="+mj-lt"/>
          <a:ea typeface="+mj-ea"/>
          <a:cs typeface="+mj-cs"/>
        </a:defRPr>
      </a:lvl1pPr>
    </p:titleStyle>
    <p:bodyStyle>
      <a:lvl1pPr marL="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6pPr>
      <a:lvl7pPr marL="6175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7pPr>
      <a:lvl8pPr marL="820738" indent="-203200" algn="l" defTabSz="914400" rtl="0" eaLnBrk="1" latinLnBrk="0" hangingPunct="1">
        <a:spcBef>
          <a:spcPts val="0"/>
        </a:spcBef>
        <a:spcAft>
          <a:spcPts val="600"/>
        </a:spcAft>
        <a:buClr>
          <a:srgbClr val="0078DC"/>
        </a:buClr>
        <a:buFont typeface="Wingdings" pitchFamily="2" charset="2"/>
        <a:buChar char=""/>
        <a:defRPr sz="1600" kern="1200" baseline="0">
          <a:solidFill>
            <a:srgbClr val="5E5E5E"/>
          </a:solidFill>
          <a:latin typeface="+mn-lt"/>
          <a:ea typeface="+mn-ea"/>
          <a:cs typeface="+mn-cs"/>
        </a:defRPr>
      </a:lvl8pPr>
      <a:lvl9pPr marL="8207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3.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4.png"/><Relationship Id="rId4" Type="http://schemas.openxmlformats.org/officeDocument/2006/relationships/notesSlide" Target="../notesSlides/notesSlide3.xml"/><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808AEF4-D40C-4443-8EB4-3F2105FB17EE}"/>
              </a:ext>
            </a:extLst>
          </p:cNvPr>
          <p:cNvPicPr>
            <a:picLocks noChangeAspect="1"/>
          </p:cNvPicPr>
          <p:nvPr/>
        </p:nvPicPr>
        <p:blipFill rotWithShape="1">
          <a:blip r:embed="rId2">
            <a:extLst>
              <a:ext uri="{28A0092B-C50C-407E-A947-70E740481C1C}">
                <a14:useLocalDpi xmlns:a14="http://schemas.microsoft.com/office/drawing/2010/main" val="0"/>
              </a:ext>
            </a:extLst>
          </a:blip>
          <a:srcRect l="13332" r="8891"/>
          <a:stretch/>
        </p:blipFill>
        <p:spPr>
          <a:xfrm>
            <a:off x="20" y="-1"/>
            <a:ext cx="9148780" cy="5146200"/>
          </a:xfrm>
          <a:prstGeom prst="rect">
            <a:avLst/>
          </a:prstGeom>
          <a:noFill/>
        </p:spPr>
      </p:pic>
      <p:sp>
        <p:nvSpPr>
          <p:cNvPr id="9" name="Slide Number Placeholder 2">
            <a:extLst>
              <a:ext uri="{FF2B5EF4-FFF2-40B4-BE49-F238E27FC236}">
                <a16:creationId xmlns:a16="http://schemas.microsoft.com/office/drawing/2014/main" id="{03471DCA-1C89-1624-FE15-42F74E2A49EF}"/>
              </a:ext>
            </a:extLst>
          </p:cNvPr>
          <p:cNvSpPr>
            <a:spLocks noGrp="1"/>
          </p:cNvSpPr>
          <p:nvPr>
            <p:ph type="sldNum" sz="quarter" idx="11"/>
          </p:nvPr>
        </p:nvSpPr>
        <p:spPr/>
        <p:txBody>
          <a:bodyPr/>
          <a:lstStyle/>
          <a:p>
            <a:pPr>
              <a:spcAft>
                <a:spcPts val="600"/>
              </a:spcAft>
            </a:pPr>
            <a:fld id="{9D543ADB-E95E-4587-963D-D3C6AB2E96C0}" type="slidenum">
              <a:rPr lang="de-DE" dirty="0"/>
              <a:pPr>
                <a:spcAft>
                  <a:spcPts val="600"/>
                </a:spcAft>
              </a:pPr>
              <a:t>1</a:t>
            </a:fld>
            <a:endParaRPr lang="de-DE"/>
          </a:p>
        </p:txBody>
      </p:sp>
      <p:sp>
        <p:nvSpPr>
          <p:cNvPr id="2" name="Titel 1">
            <a:extLst>
              <a:ext uri="{FF2B5EF4-FFF2-40B4-BE49-F238E27FC236}">
                <a16:creationId xmlns:a16="http://schemas.microsoft.com/office/drawing/2014/main" id="{01B6C609-838C-4CFA-8B72-89A2513DB845}"/>
              </a:ext>
            </a:extLst>
          </p:cNvPr>
          <p:cNvSpPr>
            <a:spLocks noGrp="1"/>
          </p:cNvSpPr>
          <p:nvPr>
            <p:ph type="title"/>
          </p:nvPr>
        </p:nvSpPr>
        <p:spPr>
          <a:xfrm>
            <a:off x="691200" y="3150901"/>
            <a:ext cx="8273288" cy="1177200"/>
          </a:xfrm>
        </p:spPr>
        <p:txBody>
          <a:bodyPr anchor="b">
            <a:normAutofit/>
          </a:bodyPr>
          <a:lstStyle/>
          <a:p>
            <a:r>
              <a:rPr lang="de-DE"/>
              <a:t>Revitalisierung des</a:t>
            </a:r>
            <a:br>
              <a:rPr lang="de-DE"/>
            </a:br>
            <a:r>
              <a:rPr lang="de-DE"/>
              <a:t>Pumpspeicherkraftwerks Happurg </a:t>
            </a:r>
            <a:br>
              <a:rPr lang="de-DE"/>
            </a:br>
            <a:endParaRPr lang="de-DE">
              <a:cs typeface="Arial"/>
            </a:endParaRPr>
          </a:p>
        </p:txBody>
      </p:sp>
      <p:sp>
        <p:nvSpPr>
          <p:cNvPr id="3" name="Untertitel 2">
            <a:extLst>
              <a:ext uri="{FF2B5EF4-FFF2-40B4-BE49-F238E27FC236}">
                <a16:creationId xmlns:a16="http://schemas.microsoft.com/office/drawing/2014/main" id="{25C20254-D7BB-44BF-8974-EEF9B7332942}"/>
              </a:ext>
            </a:extLst>
          </p:cNvPr>
          <p:cNvSpPr>
            <a:spLocks noGrp="1"/>
          </p:cNvSpPr>
          <p:nvPr>
            <p:ph type="subTitle" idx="1"/>
          </p:nvPr>
        </p:nvSpPr>
        <p:spPr/>
        <p:txBody>
          <a:bodyPr vert="horz" lIns="0" tIns="0" rIns="0" bIns="0" rtlCol="0" anchor="t">
            <a:normAutofit/>
          </a:bodyPr>
          <a:lstStyle/>
          <a:p>
            <a:pPr>
              <a:lnSpc>
                <a:spcPct val="90000"/>
              </a:lnSpc>
            </a:pPr>
            <a:r>
              <a:rPr lang="de-DE" sz="1500">
                <a:cs typeface="Arial"/>
              </a:rPr>
              <a:t>Ein Überblick, Juli 2024</a:t>
            </a:r>
          </a:p>
        </p:txBody>
      </p:sp>
      <p:sp>
        <p:nvSpPr>
          <p:cNvPr id="11" name="Text Placeholder 5">
            <a:extLst>
              <a:ext uri="{FF2B5EF4-FFF2-40B4-BE49-F238E27FC236}">
                <a16:creationId xmlns:a16="http://schemas.microsoft.com/office/drawing/2014/main" id="{9796A7A5-9086-3321-984A-3011E32577C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652182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678155" y="1042818"/>
            <a:ext cx="5075468" cy="3899079"/>
          </a:xfrm>
        </p:spPr>
        <p:txBody>
          <a:bodyPr/>
          <a:lstStyle/>
          <a:p>
            <a:r>
              <a:rPr lang="de-DE" sz="1600">
                <a:solidFill>
                  <a:schemeClr val="tx1">
                    <a:lumMod val="50000"/>
                  </a:schemeClr>
                </a:solidFill>
                <a:ea typeface="+mj-lt"/>
                <a:cs typeface="+mj-lt"/>
              </a:rPr>
              <a:t>Uniper-CEO Michael Lewis:</a:t>
            </a:r>
            <a:r>
              <a:rPr lang="de-DE" sz="1600" b="0">
                <a:solidFill>
                  <a:schemeClr val="tx1">
                    <a:lumMod val="50000"/>
                  </a:schemeClr>
                </a:solidFill>
                <a:ea typeface="+mj-lt"/>
                <a:cs typeface="+mj-lt"/>
              </a:rPr>
              <a:t> </a:t>
            </a:r>
            <a:br>
              <a:rPr lang="de-DE" sz="1600" b="0">
                <a:solidFill>
                  <a:schemeClr val="tx1">
                    <a:lumMod val="50000"/>
                  </a:schemeClr>
                </a:solidFill>
                <a:ea typeface="+mj-lt"/>
                <a:cs typeface="+mj-lt"/>
              </a:rPr>
            </a:br>
            <a:r>
              <a:rPr lang="de-DE" sz="1600" b="0" i="1">
                <a:solidFill>
                  <a:srgbClr val="92D050"/>
                </a:solidFill>
                <a:ea typeface="+mj-lt"/>
                <a:cs typeface="+mj-lt"/>
              </a:rPr>
              <a:t>„Beitrag zu einer verlässlichen Stromversorgung in Süddeutschland”</a:t>
            </a:r>
            <a:br>
              <a:rPr lang="de-DE" sz="1600" b="0" i="1">
                <a:solidFill>
                  <a:srgbClr val="69AB46"/>
                </a:solidFill>
                <a:ea typeface="+mj-lt"/>
                <a:cs typeface="+mj-lt"/>
              </a:rPr>
            </a:br>
            <a:br>
              <a:rPr lang="de-DE" sz="1600" b="0" i="1">
                <a:ea typeface="+mj-lt"/>
                <a:cs typeface="+mj-lt"/>
              </a:rPr>
            </a:br>
            <a:r>
              <a:rPr lang="de-DE" sz="1600" b="0" i="1">
                <a:ea typeface="+mj-lt"/>
                <a:cs typeface="+mj-lt"/>
              </a:rPr>
              <a:t>Uniper hat die Entscheidung getroffen, das Pump-speicherkraftwerk in Happurg östlich von Nürnberg wieder in Betrieb zu nehmen und investiert damit rund 250 Mio.€ in verlässliche Energie-Infrastruktur in Bayern. Das Unternehmen unterstützt so die Energiewende mit einem substanziellen Beitrag und setzt seinen unternehmerischen Kurs der Transformation zu mehr regenerativer Stromerzeugung fort. Das Pumpspeicherkraftwerk speichert Energie und trägt damit zu einer größeren Sicherheit des Stromangebots in Süddeutschland bei.</a:t>
            </a:r>
            <a:endParaRPr lang="de-DE" sz="1600" b="0" i="1">
              <a:solidFill>
                <a:schemeClr val="tx1">
                  <a:lumMod val="50000"/>
                </a:schemeClr>
              </a:solidFill>
              <a:cs typeface="Arial"/>
            </a:endParaRPr>
          </a:p>
        </p:txBody>
      </p:sp>
      <p:sp>
        <p:nvSpPr>
          <p:cNvPr id="4" name="Foliennummernplatzhalter 3"/>
          <p:cNvSpPr>
            <a:spLocks noGrp="1"/>
          </p:cNvSpPr>
          <p:nvPr>
            <p:ph type="sldNum" sz="quarter" idx="12"/>
          </p:nvPr>
        </p:nvSpPr>
        <p:spPr/>
        <p:txBody>
          <a:bodyPr/>
          <a:lstStyle/>
          <a:p>
            <a:fld id="{9D543ADB-E95E-4587-963D-D3C6AB2E96C0}" type="slidenum">
              <a:rPr lang="en-NL" sz="825"/>
              <a:pPr/>
              <a:t>2</a:t>
            </a:fld>
            <a:endParaRPr lang="en-NL" sz="825"/>
          </a:p>
        </p:txBody>
      </p:sp>
      <p:sp>
        <p:nvSpPr>
          <p:cNvPr id="38" name="Rectangle 19">
            <a:extLst>
              <a:ext uri="{FF2B5EF4-FFF2-40B4-BE49-F238E27FC236}">
                <a16:creationId xmlns:a16="http://schemas.microsoft.com/office/drawing/2014/main" id="{1A05968F-B88B-46C0-A5FD-9F54772E39A8}"/>
              </a:ext>
            </a:extLst>
          </p:cNvPr>
          <p:cNvSpPr txBox="1">
            <a:spLocks noChangeArrowheads="1"/>
          </p:cNvSpPr>
          <p:nvPr/>
        </p:nvSpPr>
        <p:spPr>
          <a:xfrm>
            <a:off x="319768" y="204350"/>
            <a:ext cx="7453138" cy="457200"/>
          </a:xfrm>
          <a:prstGeom prst="rect">
            <a:avLst/>
          </a:prstGeom>
          <a:extLst>
            <a:ext uri="{91240B29-F687-4F45-9708-019B960494DF}">
              <a14:hiddenLine xmlns:a14="http://schemas.microsoft.com/office/drawing/2010/main" w="12700">
                <a:solidFill>
                  <a:schemeClr val="tx1"/>
                </a:solidFill>
                <a:miter lim="800000"/>
                <a:headEnd/>
                <a:tailEnd/>
              </a14:hiddenLine>
            </a:ext>
          </a:extLst>
        </p:spPr>
        <p:txBody>
          <a:bodyPr vert="horz" lIns="0" tIns="0" rIns="0" bIns="0" rtlCol="0" anchor="t" anchorCtr="0">
            <a:noAutofit/>
          </a:bodyPr>
          <a:lstStyle>
            <a:lvl1pPr algn="l" defTabSz="685800" rtl="0" eaLnBrk="1" latinLnBrk="0" hangingPunct="1">
              <a:spcBef>
                <a:spcPct val="0"/>
              </a:spcBef>
              <a:buNone/>
              <a:defRPr lang="de-DE" sz="1800" b="1" kern="1200" dirty="0">
                <a:solidFill>
                  <a:srgbClr val="0078DC"/>
                </a:solidFill>
                <a:latin typeface="+mj-lt"/>
                <a:ea typeface="+mj-ea"/>
                <a:cs typeface="+mj-cs"/>
              </a:defRPr>
            </a:lvl1pPr>
          </a:lstStyle>
          <a:p>
            <a:r>
              <a:rPr lang="de-DE" altLang="de-DE" sz="2000"/>
              <a:t>20. Juni 2024: Uniper nimmt PSW Happurg für rund 250 </a:t>
            </a:r>
            <a:r>
              <a:rPr lang="de-DE" altLang="de-DE" sz="2000" err="1"/>
              <a:t>Mio</a:t>
            </a:r>
            <a:r>
              <a:rPr lang="de-DE" altLang="de-DE" sz="2000"/>
              <a:t> Euro wieder in Betrieb </a:t>
            </a:r>
          </a:p>
        </p:txBody>
      </p:sp>
      <p:pic>
        <p:nvPicPr>
          <p:cNvPr id="7" name="Grafik 6" descr="Ein Bild, das Text, Screenshot, Schrift, Dokument enthält.">
            <a:extLst>
              <a:ext uri="{FF2B5EF4-FFF2-40B4-BE49-F238E27FC236}">
                <a16:creationId xmlns:a16="http://schemas.microsoft.com/office/drawing/2014/main" id="{44F80784-B963-7A75-0297-C332D0B5E788}"/>
              </a:ext>
            </a:extLst>
          </p:cNvPr>
          <p:cNvPicPr>
            <a:picLocks noChangeAspect="1"/>
          </p:cNvPicPr>
          <p:nvPr/>
        </p:nvPicPr>
        <p:blipFill>
          <a:blip r:embed="rId3"/>
          <a:stretch>
            <a:fillRect/>
          </a:stretch>
        </p:blipFill>
        <p:spPr>
          <a:xfrm rot="-900000">
            <a:off x="574297" y="1082050"/>
            <a:ext cx="2578168" cy="358320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35003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4352" y="681871"/>
            <a:ext cx="8136000" cy="409922"/>
          </a:xfrm>
        </p:spPr>
        <p:txBody>
          <a:bodyPr/>
          <a:lstStyle/>
          <a:p>
            <a:r>
              <a:rPr lang="de-DE" sz="1800">
                <a:solidFill>
                  <a:srgbClr val="92D050"/>
                </a:solidFill>
              </a:rPr>
              <a:t>Das PSW Happurg hat das größte „grüne Akku-Potential“ Bayerns: </a:t>
            </a:r>
            <a:endParaRPr lang="de-DE" sz="1800">
              <a:solidFill>
                <a:srgbClr val="92D050"/>
              </a:solidFill>
              <a:cs typeface="Arial"/>
            </a:endParaRPr>
          </a:p>
        </p:txBody>
      </p:sp>
      <p:sp>
        <p:nvSpPr>
          <p:cNvPr id="4" name="Foliennummernplatzhalter 3"/>
          <p:cNvSpPr>
            <a:spLocks noGrp="1"/>
          </p:cNvSpPr>
          <p:nvPr>
            <p:ph type="sldNum" sz="quarter" idx="12"/>
          </p:nvPr>
        </p:nvSpPr>
        <p:spPr/>
        <p:txBody>
          <a:bodyPr/>
          <a:lstStyle/>
          <a:p>
            <a:fld id="{9D543ADB-E95E-4587-963D-D3C6AB2E96C0}" type="slidenum">
              <a:rPr lang="en-NL" sz="825"/>
              <a:pPr/>
              <a:t>3</a:t>
            </a:fld>
            <a:endParaRPr lang="en-NL" sz="825"/>
          </a:p>
        </p:txBody>
      </p:sp>
      <p:grpSp>
        <p:nvGrpSpPr>
          <p:cNvPr id="3" name="Gruppieren 2">
            <a:extLst>
              <a:ext uri="{FF2B5EF4-FFF2-40B4-BE49-F238E27FC236}">
                <a16:creationId xmlns:a16="http://schemas.microsoft.com/office/drawing/2014/main" id="{55B7BB19-9820-9FC9-48B1-4D942915BAD3}"/>
              </a:ext>
            </a:extLst>
          </p:cNvPr>
          <p:cNvGrpSpPr/>
          <p:nvPr/>
        </p:nvGrpSpPr>
        <p:grpSpPr>
          <a:xfrm>
            <a:off x="734468" y="1203598"/>
            <a:ext cx="2607687" cy="3212943"/>
            <a:chOff x="1435895" y="887513"/>
            <a:chExt cx="1954545" cy="2641443"/>
          </a:xfrm>
        </p:grpSpPr>
        <p:sp>
          <p:nvSpPr>
            <p:cNvPr id="11" name="Textfeld 12">
              <a:extLst>
                <a:ext uri="{FF2B5EF4-FFF2-40B4-BE49-F238E27FC236}">
                  <a16:creationId xmlns:a16="http://schemas.microsoft.com/office/drawing/2014/main" id="{3C473D93-A233-46D2-BFBC-0722DF7DB851}"/>
                </a:ext>
              </a:extLst>
            </p:cNvPr>
            <p:cNvSpPr txBox="1"/>
            <p:nvPr/>
          </p:nvSpPr>
          <p:spPr>
            <a:xfrm>
              <a:off x="2867509" y="3115650"/>
              <a:ext cx="503984" cy="173124"/>
            </a:xfrm>
            <a:prstGeom prst="rect">
              <a:avLst/>
            </a:prstGeom>
            <a:noFill/>
          </p:spPr>
          <p:txBody>
            <a:bodyPr wrap="none" rtlCol="0">
              <a:noAutofit/>
            </a:bodyPr>
            <a:lstStyle/>
            <a:p>
              <a:endParaRPr lang="de-DE" sz="713">
                <a:solidFill>
                  <a:srgbClr val="000000"/>
                </a:solidFill>
              </a:endParaRPr>
            </a:p>
          </p:txBody>
        </p:sp>
        <p:grpSp>
          <p:nvGrpSpPr>
            <p:cNvPr id="12" name="Gruppieren 26">
              <a:extLst>
                <a:ext uri="{FF2B5EF4-FFF2-40B4-BE49-F238E27FC236}">
                  <a16:creationId xmlns:a16="http://schemas.microsoft.com/office/drawing/2014/main" id="{C538E7AB-4236-4A4D-9693-F0B89280EFC7}"/>
                </a:ext>
              </a:extLst>
            </p:cNvPr>
            <p:cNvGrpSpPr>
              <a:grpSpLocks noChangeAspect="1"/>
            </p:cNvGrpSpPr>
            <p:nvPr/>
          </p:nvGrpSpPr>
          <p:grpSpPr bwMode="auto">
            <a:xfrm>
              <a:off x="1435895" y="887513"/>
              <a:ext cx="1954545" cy="2641443"/>
              <a:chOff x="2697479" y="1331975"/>
              <a:chExt cx="3536417" cy="4779229"/>
            </a:xfrm>
          </p:grpSpPr>
          <p:sp>
            <p:nvSpPr>
              <p:cNvPr id="13" name="Freeform 5">
                <a:extLst>
                  <a:ext uri="{FF2B5EF4-FFF2-40B4-BE49-F238E27FC236}">
                    <a16:creationId xmlns:a16="http://schemas.microsoft.com/office/drawing/2014/main" id="{22084957-16D6-4BBA-A773-39EF8302C7C9}"/>
                  </a:ext>
                </a:extLst>
              </p:cNvPr>
              <p:cNvSpPr>
                <a:spLocks/>
              </p:cNvSpPr>
              <p:nvPr/>
            </p:nvSpPr>
            <p:spPr bwMode="gray">
              <a:xfrm>
                <a:off x="2996181" y="2044948"/>
                <a:ext cx="1820659" cy="1603744"/>
              </a:xfrm>
              <a:custGeom>
                <a:avLst/>
                <a:gdLst>
                  <a:gd name="T0" fmla="*/ 1601966 w 1024"/>
                  <a:gd name="T1" fmla="*/ 805428 h 902"/>
                  <a:gd name="T2" fmla="*/ 1635748 w 1024"/>
                  <a:gd name="T3" fmla="*/ 908551 h 902"/>
                  <a:gd name="T4" fmla="*/ 1475729 w 1024"/>
                  <a:gd name="T5" fmla="*/ 1132578 h 902"/>
                  <a:gd name="T6" fmla="*/ 1488175 w 1024"/>
                  <a:gd name="T7" fmla="*/ 1246369 h 902"/>
                  <a:gd name="T8" fmla="*/ 1536181 w 1024"/>
                  <a:gd name="T9" fmla="*/ 1354826 h 902"/>
                  <a:gd name="T10" fmla="*/ 1417056 w 1024"/>
                  <a:gd name="T11" fmla="*/ 1406388 h 902"/>
                  <a:gd name="T12" fmla="*/ 1200141 w 1024"/>
                  <a:gd name="T13" fmla="*/ 1518401 h 902"/>
                  <a:gd name="T14" fmla="*/ 1095240 w 1024"/>
                  <a:gd name="T15" fmla="*/ 1580630 h 902"/>
                  <a:gd name="T16" fmla="*/ 1129022 w 1024"/>
                  <a:gd name="T17" fmla="*/ 1393942 h 902"/>
                  <a:gd name="T18" fmla="*/ 1045456 w 1024"/>
                  <a:gd name="T19" fmla="*/ 1255259 h 902"/>
                  <a:gd name="T20" fmla="*/ 862324 w 1024"/>
                  <a:gd name="T21" fmla="*/ 995673 h 902"/>
                  <a:gd name="T22" fmla="*/ 883659 w 1024"/>
                  <a:gd name="T23" fmla="*/ 867657 h 902"/>
                  <a:gd name="T24" fmla="*/ 755644 w 1024"/>
                  <a:gd name="T25" fmla="*/ 910329 h 902"/>
                  <a:gd name="T26" fmla="*/ 737865 w 1024"/>
                  <a:gd name="T27" fmla="*/ 839210 h 902"/>
                  <a:gd name="T28" fmla="*/ 684525 w 1024"/>
                  <a:gd name="T29" fmla="*/ 1063236 h 902"/>
                  <a:gd name="T30" fmla="*/ 599182 w 1024"/>
                  <a:gd name="T31" fmla="*/ 1084572 h 902"/>
                  <a:gd name="T32" fmla="*/ 433829 w 1024"/>
                  <a:gd name="T33" fmla="*/ 1114798 h 902"/>
                  <a:gd name="T34" fmla="*/ 496058 w 1024"/>
                  <a:gd name="T35" fmla="*/ 1065014 h 902"/>
                  <a:gd name="T36" fmla="*/ 480057 w 1024"/>
                  <a:gd name="T37" fmla="*/ 956557 h 902"/>
                  <a:gd name="T38" fmla="*/ 339596 w 1024"/>
                  <a:gd name="T39" fmla="*/ 885437 h 902"/>
                  <a:gd name="T40" fmla="*/ 234694 w 1024"/>
                  <a:gd name="T41" fmla="*/ 1015231 h 902"/>
                  <a:gd name="T42" fmla="*/ 122681 w 1024"/>
                  <a:gd name="T43" fmla="*/ 988561 h 902"/>
                  <a:gd name="T44" fmla="*/ 117347 w 1024"/>
                  <a:gd name="T45" fmla="*/ 888993 h 902"/>
                  <a:gd name="T46" fmla="*/ 0 w 1024"/>
                  <a:gd name="T47" fmla="*/ 872991 h 902"/>
                  <a:gd name="T48" fmla="*/ 133349 w 1024"/>
                  <a:gd name="T49" fmla="*/ 773424 h 902"/>
                  <a:gd name="T50" fmla="*/ 195579 w 1024"/>
                  <a:gd name="T51" fmla="*/ 366265 h 902"/>
                  <a:gd name="T52" fmla="*/ 211580 w 1024"/>
                  <a:gd name="T53" fmla="*/ 359153 h 902"/>
                  <a:gd name="T54" fmla="*/ 112013 w 1024"/>
                  <a:gd name="T55" fmla="*/ 257808 h 902"/>
                  <a:gd name="T56" fmla="*/ 160019 w 1024"/>
                  <a:gd name="T57" fmla="*/ 245362 h 902"/>
                  <a:gd name="T58" fmla="*/ 161797 w 1024"/>
                  <a:gd name="T59" fmla="*/ 220470 h 902"/>
                  <a:gd name="T60" fmla="*/ 163575 w 1024"/>
                  <a:gd name="T61" fmla="*/ 168909 h 902"/>
                  <a:gd name="T62" fmla="*/ 464055 w 1024"/>
                  <a:gd name="T63" fmla="*/ 117347 h 902"/>
                  <a:gd name="T64" fmla="*/ 487169 w 1024"/>
                  <a:gd name="T65" fmla="*/ 152907 h 902"/>
                  <a:gd name="T66" fmla="*/ 497836 w 1024"/>
                  <a:gd name="T67" fmla="*/ 243584 h 902"/>
                  <a:gd name="T68" fmla="*/ 540508 w 1024"/>
                  <a:gd name="T69" fmla="*/ 307592 h 902"/>
                  <a:gd name="T70" fmla="*/ 588514 w 1024"/>
                  <a:gd name="T71" fmla="*/ 247140 h 902"/>
                  <a:gd name="T72" fmla="*/ 567178 w 1024"/>
                  <a:gd name="T73" fmla="*/ 177799 h 902"/>
                  <a:gd name="T74" fmla="*/ 668523 w 1024"/>
                  <a:gd name="T75" fmla="*/ 224026 h 902"/>
                  <a:gd name="T76" fmla="*/ 688081 w 1024"/>
                  <a:gd name="T77" fmla="*/ 270254 h 902"/>
                  <a:gd name="T78" fmla="*/ 723641 w 1024"/>
                  <a:gd name="T79" fmla="*/ 250696 h 902"/>
                  <a:gd name="T80" fmla="*/ 670301 w 1024"/>
                  <a:gd name="T81" fmla="*/ 200912 h 902"/>
                  <a:gd name="T82" fmla="*/ 702305 w 1024"/>
                  <a:gd name="T83" fmla="*/ 7112 h 902"/>
                  <a:gd name="T84" fmla="*/ 752088 w 1024"/>
                  <a:gd name="T85" fmla="*/ 30226 h 902"/>
                  <a:gd name="T86" fmla="*/ 949445 w 1024"/>
                  <a:gd name="T87" fmla="*/ 40894 h 902"/>
                  <a:gd name="T88" fmla="*/ 1171694 w 1024"/>
                  <a:gd name="T89" fmla="*/ 270254 h 902"/>
                  <a:gd name="T90" fmla="*/ 1237479 w 1024"/>
                  <a:gd name="T91" fmla="*/ 261364 h 902"/>
                  <a:gd name="T92" fmla="*/ 1285485 w 1024"/>
                  <a:gd name="T93" fmla="*/ 286256 h 902"/>
                  <a:gd name="T94" fmla="*/ 1324600 w 1024"/>
                  <a:gd name="T95" fmla="*/ 268476 h 902"/>
                  <a:gd name="T96" fmla="*/ 1363716 w 1024"/>
                  <a:gd name="T97" fmla="*/ 282700 h 902"/>
                  <a:gd name="T98" fmla="*/ 1424168 w 1024"/>
                  <a:gd name="T99" fmla="*/ 314704 h 902"/>
                  <a:gd name="T100" fmla="*/ 1452615 w 1024"/>
                  <a:gd name="T101" fmla="*/ 305814 h 902"/>
                  <a:gd name="T102" fmla="*/ 1580630 w 1024"/>
                  <a:gd name="T103" fmla="*/ 307592 h 902"/>
                  <a:gd name="T104" fmla="*/ 1639304 w 1024"/>
                  <a:gd name="T105" fmla="*/ 428495 h 902"/>
                  <a:gd name="T106" fmla="*/ 1820659 w 1024"/>
                  <a:gd name="T107" fmla="*/ 492502 h 902"/>
                  <a:gd name="T108" fmla="*/ 1603744 w 1024"/>
                  <a:gd name="T109" fmla="*/ 568956 h 902"/>
                  <a:gd name="T110" fmla="*/ 1518401 w 1024"/>
                  <a:gd name="T111" fmla="*/ 650743 h 9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24"/>
                  <a:gd name="T169" fmla="*/ 0 h 902"/>
                  <a:gd name="T170" fmla="*/ 1024 w 1024"/>
                  <a:gd name="T171" fmla="*/ 902 h 90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24" h="902">
                    <a:moveTo>
                      <a:pt x="854" y="366"/>
                    </a:moveTo>
                    <a:lnTo>
                      <a:pt x="901" y="453"/>
                    </a:lnTo>
                    <a:lnTo>
                      <a:pt x="899" y="484"/>
                    </a:lnTo>
                    <a:lnTo>
                      <a:pt x="920" y="511"/>
                    </a:lnTo>
                    <a:lnTo>
                      <a:pt x="924" y="596"/>
                    </a:lnTo>
                    <a:lnTo>
                      <a:pt x="830" y="637"/>
                    </a:lnTo>
                    <a:lnTo>
                      <a:pt x="848" y="685"/>
                    </a:lnTo>
                    <a:lnTo>
                      <a:pt x="837" y="701"/>
                    </a:lnTo>
                    <a:lnTo>
                      <a:pt x="840" y="725"/>
                    </a:lnTo>
                    <a:lnTo>
                      <a:pt x="864" y="762"/>
                    </a:lnTo>
                    <a:lnTo>
                      <a:pt x="837" y="796"/>
                    </a:lnTo>
                    <a:lnTo>
                      <a:pt x="797" y="791"/>
                    </a:lnTo>
                    <a:lnTo>
                      <a:pt x="702" y="871"/>
                    </a:lnTo>
                    <a:lnTo>
                      <a:pt x="675" y="854"/>
                    </a:lnTo>
                    <a:lnTo>
                      <a:pt x="647" y="902"/>
                    </a:lnTo>
                    <a:lnTo>
                      <a:pt x="616" y="889"/>
                    </a:lnTo>
                    <a:lnTo>
                      <a:pt x="643" y="810"/>
                    </a:lnTo>
                    <a:lnTo>
                      <a:pt x="635" y="784"/>
                    </a:lnTo>
                    <a:lnTo>
                      <a:pt x="585" y="785"/>
                    </a:lnTo>
                    <a:lnTo>
                      <a:pt x="588" y="706"/>
                    </a:lnTo>
                    <a:lnTo>
                      <a:pt x="567" y="705"/>
                    </a:lnTo>
                    <a:lnTo>
                      <a:pt x="485" y="560"/>
                    </a:lnTo>
                    <a:lnTo>
                      <a:pt x="517" y="513"/>
                    </a:lnTo>
                    <a:lnTo>
                      <a:pt x="497" y="488"/>
                    </a:lnTo>
                    <a:lnTo>
                      <a:pt x="483" y="513"/>
                    </a:lnTo>
                    <a:lnTo>
                      <a:pt x="425" y="512"/>
                    </a:lnTo>
                    <a:lnTo>
                      <a:pt x="425" y="481"/>
                    </a:lnTo>
                    <a:lnTo>
                      <a:pt x="415" y="472"/>
                    </a:lnTo>
                    <a:lnTo>
                      <a:pt x="337" y="502"/>
                    </a:lnTo>
                    <a:lnTo>
                      <a:pt x="385" y="598"/>
                    </a:lnTo>
                    <a:lnTo>
                      <a:pt x="365" y="617"/>
                    </a:lnTo>
                    <a:lnTo>
                      <a:pt x="337" y="610"/>
                    </a:lnTo>
                    <a:lnTo>
                      <a:pt x="280" y="650"/>
                    </a:lnTo>
                    <a:lnTo>
                      <a:pt x="244" y="627"/>
                    </a:lnTo>
                    <a:lnTo>
                      <a:pt x="275" y="614"/>
                    </a:lnTo>
                    <a:lnTo>
                      <a:pt x="279" y="599"/>
                    </a:lnTo>
                    <a:lnTo>
                      <a:pt x="256" y="592"/>
                    </a:lnTo>
                    <a:lnTo>
                      <a:pt x="270" y="538"/>
                    </a:lnTo>
                    <a:lnTo>
                      <a:pt x="214" y="500"/>
                    </a:lnTo>
                    <a:lnTo>
                      <a:pt x="191" y="498"/>
                    </a:lnTo>
                    <a:lnTo>
                      <a:pt x="184" y="534"/>
                    </a:lnTo>
                    <a:lnTo>
                      <a:pt x="132" y="571"/>
                    </a:lnTo>
                    <a:lnTo>
                      <a:pt x="83" y="576"/>
                    </a:lnTo>
                    <a:lnTo>
                      <a:pt x="69" y="556"/>
                    </a:lnTo>
                    <a:lnTo>
                      <a:pt x="88" y="533"/>
                    </a:lnTo>
                    <a:lnTo>
                      <a:pt x="66" y="500"/>
                    </a:lnTo>
                    <a:lnTo>
                      <a:pt x="55" y="509"/>
                    </a:lnTo>
                    <a:lnTo>
                      <a:pt x="0" y="491"/>
                    </a:lnTo>
                    <a:lnTo>
                      <a:pt x="14" y="438"/>
                    </a:lnTo>
                    <a:lnTo>
                      <a:pt x="75" y="435"/>
                    </a:lnTo>
                    <a:lnTo>
                      <a:pt x="83" y="367"/>
                    </a:lnTo>
                    <a:lnTo>
                      <a:pt x="110" y="206"/>
                    </a:lnTo>
                    <a:lnTo>
                      <a:pt x="136" y="213"/>
                    </a:lnTo>
                    <a:lnTo>
                      <a:pt x="119" y="202"/>
                    </a:lnTo>
                    <a:lnTo>
                      <a:pt x="64" y="195"/>
                    </a:lnTo>
                    <a:lnTo>
                      <a:pt x="63" y="145"/>
                    </a:lnTo>
                    <a:lnTo>
                      <a:pt x="72" y="133"/>
                    </a:lnTo>
                    <a:lnTo>
                      <a:pt x="90" y="138"/>
                    </a:lnTo>
                    <a:lnTo>
                      <a:pt x="94" y="130"/>
                    </a:lnTo>
                    <a:lnTo>
                      <a:pt x="91" y="124"/>
                    </a:lnTo>
                    <a:lnTo>
                      <a:pt x="77" y="115"/>
                    </a:lnTo>
                    <a:lnTo>
                      <a:pt x="92" y="95"/>
                    </a:lnTo>
                    <a:lnTo>
                      <a:pt x="118" y="80"/>
                    </a:lnTo>
                    <a:lnTo>
                      <a:pt x="261" y="66"/>
                    </a:lnTo>
                    <a:lnTo>
                      <a:pt x="275" y="75"/>
                    </a:lnTo>
                    <a:lnTo>
                      <a:pt x="274" y="86"/>
                    </a:lnTo>
                    <a:lnTo>
                      <a:pt x="299" y="130"/>
                    </a:lnTo>
                    <a:lnTo>
                      <a:pt x="280" y="137"/>
                    </a:lnTo>
                    <a:lnTo>
                      <a:pt x="280" y="148"/>
                    </a:lnTo>
                    <a:lnTo>
                      <a:pt x="304" y="173"/>
                    </a:lnTo>
                    <a:lnTo>
                      <a:pt x="321" y="175"/>
                    </a:lnTo>
                    <a:lnTo>
                      <a:pt x="331" y="139"/>
                    </a:lnTo>
                    <a:lnTo>
                      <a:pt x="310" y="131"/>
                    </a:lnTo>
                    <a:lnTo>
                      <a:pt x="319" y="100"/>
                    </a:lnTo>
                    <a:lnTo>
                      <a:pt x="328" y="97"/>
                    </a:lnTo>
                    <a:lnTo>
                      <a:pt x="376" y="126"/>
                    </a:lnTo>
                    <a:lnTo>
                      <a:pt x="380" y="136"/>
                    </a:lnTo>
                    <a:lnTo>
                      <a:pt x="387" y="152"/>
                    </a:lnTo>
                    <a:lnTo>
                      <a:pt x="402" y="155"/>
                    </a:lnTo>
                    <a:lnTo>
                      <a:pt x="407" y="141"/>
                    </a:lnTo>
                    <a:lnTo>
                      <a:pt x="400" y="112"/>
                    </a:lnTo>
                    <a:lnTo>
                      <a:pt x="377" y="113"/>
                    </a:lnTo>
                    <a:lnTo>
                      <a:pt x="364" y="75"/>
                    </a:lnTo>
                    <a:lnTo>
                      <a:pt x="395" y="4"/>
                    </a:lnTo>
                    <a:lnTo>
                      <a:pt x="412" y="0"/>
                    </a:lnTo>
                    <a:lnTo>
                      <a:pt x="423" y="17"/>
                    </a:lnTo>
                    <a:lnTo>
                      <a:pt x="484" y="11"/>
                    </a:lnTo>
                    <a:lnTo>
                      <a:pt x="534" y="23"/>
                    </a:lnTo>
                    <a:lnTo>
                      <a:pt x="633" y="124"/>
                    </a:lnTo>
                    <a:lnTo>
                      <a:pt x="659" y="152"/>
                    </a:lnTo>
                    <a:lnTo>
                      <a:pt x="690" y="153"/>
                    </a:lnTo>
                    <a:lnTo>
                      <a:pt x="696" y="147"/>
                    </a:lnTo>
                    <a:lnTo>
                      <a:pt x="709" y="146"/>
                    </a:lnTo>
                    <a:lnTo>
                      <a:pt x="723" y="161"/>
                    </a:lnTo>
                    <a:lnTo>
                      <a:pt x="730" y="161"/>
                    </a:lnTo>
                    <a:lnTo>
                      <a:pt x="745" y="151"/>
                    </a:lnTo>
                    <a:lnTo>
                      <a:pt x="756" y="150"/>
                    </a:lnTo>
                    <a:lnTo>
                      <a:pt x="767" y="159"/>
                    </a:lnTo>
                    <a:lnTo>
                      <a:pt x="792" y="166"/>
                    </a:lnTo>
                    <a:lnTo>
                      <a:pt x="801" y="177"/>
                    </a:lnTo>
                    <a:lnTo>
                      <a:pt x="808" y="178"/>
                    </a:lnTo>
                    <a:lnTo>
                      <a:pt x="817" y="172"/>
                    </a:lnTo>
                    <a:lnTo>
                      <a:pt x="866" y="182"/>
                    </a:lnTo>
                    <a:lnTo>
                      <a:pt x="889" y="173"/>
                    </a:lnTo>
                    <a:lnTo>
                      <a:pt x="930" y="222"/>
                    </a:lnTo>
                    <a:lnTo>
                      <a:pt x="922" y="241"/>
                    </a:lnTo>
                    <a:lnTo>
                      <a:pt x="956" y="264"/>
                    </a:lnTo>
                    <a:lnTo>
                      <a:pt x="1024" y="277"/>
                    </a:lnTo>
                    <a:lnTo>
                      <a:pt x="973" y="328"/>
                    </a:lnTo>
                    <a:lnTo>
                      <a:pt x="902" y="320"/>
                    </a:lnTo>
                    <a:lnTo>
                      <a:pt x="862" y="344"/>
                    </a:lnTo>
                    <a:lnTo>
                      <a:pt x="854" y="366"/>
                    </a:lnTo>
                    <a:close/>
                  </a:path>
                </a:pathLst>
              </a:custGeom>
              <a:solidFill>
                <a:srgbClr val="DCDCDC"/>
              </a:solidFill>
              <a:ln w="9525">
                <a:solidFill>
                  <a:schemeClr val="bg1"/>
                </a:solidFill>
                <a:round/>
                <a:headEnd/>
                <a:tailEnd/>
              </a:ln>
            </p:spPr>
            <p:txBody>
              <a:bodyPr/>
              <a:lstStyle/>
              <a:p>
                <a:endParaRPr lang="de-DE" sz="1350"/>
              </a:p>
            </p:txBody>
          </p:sp>
          <p:sp>
            <p:nvSpPr>
              <p:cNvPr id="14" name="Freeform 6">
                <a:extLst>
                  <a:ext uri="{FF2B5EF4-FFF2-40B4-BE49-F238E27FC236}">
                    <a16:creationId xmlns:a16="http://schemas.microsoft.com/office/drawing/2014/main" id="{06F07BA9-5B86-4F96-8F65-C85ED1D0C0C3}"/>
                  </a:ext>
                </a:extLst>
              </p:cNvPr>
              <p:cNvSpPr>
                <a:spLocks/>
              </p:cNvSpPr>
              <p:nvPr/>
            </p:nvSpPr>
            <p:spPr bwMode="gray">
              <a:xfrm>
                <a:off x="4695937" y="2148071"/>
                <a:ext cx="1393942" cy="1347714"/>
              </a:xfrm>
              <a:custGeom>
                <a:avLst/>
                <a:gdLst>
                  <a:gd name="T0" fmla="*/ 1168138 w 784"/>
                  <a:gd name="T1" fmla="*/ 99567 h 758"/>
                  <a:gd name="T2" fmla="*/ 1143246 w 784"/>
                  <a:gd name="T3" fmla="*/ 202690 h 758"/>
                  <a:gd name="T4" fmla="*/ 1109464 w 784"/>
                  <a:gd name="T5" fmla="*/ 337817 h 758"/>
                  <a:gd name="T6" fmla="*/ 1070348 w 784"/>
                  <a:gd name="T7" fmla="*/ 432051 h 758"/>
                  <a:gd name="T8" fmla="*/ 1210809 w 784"/>
                  <a:gd name="T9" fmla="*/ 536952 h 758"/>
                  <a:gd name="T10" fmla="*/ 1276595 w 784"/>
                  <a:gd name="T11" fmla="*/ 579624 h 758"/>
                  <a:gd name="T12" fmla="*/ 1249925 w 784"/>
                  <a:gd name="T13" fmla="*/ 711195 h 758"/>
                  <a:gd name="T14" fmla="*/ 1321045 w 784"/>
                  <a:gd name="T15" fmla="*/ 792982 h 758"/>
                  <a:gd name="T16" fmla="*/ 1344158 w 784"/>
                  <a:gd name="T17" fmla="*/ 993895 h 758"/>
                  <a:gd name="T18" fmla="*/ 1313933 w 784"/>
                  <a:gd name="T19" fmla="*/ 1049012 h 758"/>
                  <a:gd name="T20" fmla="*/ 1385052 w 784"/>
                  <a:gd name="T21" fmla="*/ 1168137 h 758"/>
                  <a:gd name="T22" fmla="*/ 1223255 w 784"/>
                  <a:gd name="T23" fmla="*/ 1241035 h 758"/>
                  <a:gd name="T24" fmla="*/ 1116576 w 784"/>
                  <a:gd name="T25" fmla="*/ 1276595 h 758"/>
                  <a:gd name="T26" fmla="*/ 954779 w 784"/>
                  <a:gd name="T27" fmla="*/ 1340602 h 758"/>
                  <a:gd name="T28" fmla="*/ 837432 w 784"/>
                  <a:gd name="T29" fmla="*/ 1315710 h 758"/>
                  <a:gd name="T30" fmla="*/ 798316 w 784"/>
                  <a:gd name="T31" fmla="*/ 1340602 h 758"/>
                  <a:gd name="T32" fmla="*/ 796538 w 784"/>
                  <a:gd name="T33" fmla="*/ 1280151 h 758"/>
                  <a:gd name="T34" fmla="*/ 730753 w 784"/>
                  <a:gd name="T35" fmla="*/ 1187695 h 758"/>
                  <a:gd name="T36" fmla="*/ 739643 w 784"/>
                  <a:gd name="T37" fmla="*/ 1063236 h 758"/>
                  <a:gd name="T38" fmla="*/ 535174 w 784"/>
                  <a:gd name="T39" fmla="*/ 993895 h 758"/>
                  <a:gd name="T40" fmla="*/ 394713 w 784"/>
                  <a:gd name="T41" fmla="*/ 885437 h 758"/>
                  <a:gd name="T42" fmla="*/ 348486 w 784"/>
                  <a:gd name="T43" fmla="*/ 682747 h 758"/>
                  <a:gd name="T44" fmla="*/ 369821 w 784"/>
                  <a:gd name="T45" fmla="*/ 606294 h 758"/>
                  <a:gd name="T46" fmla="*/ 375155 w 784"/>
                  <a:gd name="T47" fmla="*/ 483612 h 758"/>
                  <a:gd name="T48" fmla="*/ 264920 w 784"/>
                  <a:gd name="T49" fmla="*/ 476501 h 758"/>
                  <a:gd name="T50" fmla="*/ 0 w 784"/>
                  <a:gd name="T51" fmla="*/ 366265 h 758"/>
                  <a:gd name="T52" fmla="*/ 85343 w 784"/>
                  <a:gd name="T53" fmla="*/ 339595 h 758"/>
                  <a:gd name="T54" fmla="*/ 88899 w 784"/>
                  <a:gd name="T55" fmla="*/ 270254 h 758"/>
                  <a:gd name="T56" fmla="*/ 160019 w 784"/>
                  <a:gd name="T57" fmla="*/ 263142 h 758"/>
                  <a:gd name="T58" fmla="*/ 275588 w 784"/>
                  <a:gd name="T59" fmla="*/ 160019 h 758"/>
                  <a:gd name="T60" fmla="*/ 417827 w 784"/>
                  <a:gd name="T61" fmla="*/ 224026 h 758"/>
                  <a:gd name="T62" fmla="*/ 529840 w 784"/>
                  <a:gd name="T63" fmla="*/ 232916 h 758"/>
                  <a:gd name="T64" fmla="*/ 620518 w 784"/>
                  <a:gd name="T65" fmla="*/ 259586 h 758"/>
                  <a:gd name="T66" fmla="*/ 730753 w 784"/>
                  <a:gd name="T67" fmla="*/ 176021 h 758"/>
                  <a:gd name="T68" fmla="*/ 810762 w 784"/>
                  <a:gd name="T69" fmla="*/ 144017 h 758"/>
                  <a:gd name="T70" fmla="*/ 860546 w 784"/>
                  <a:gd name="T71" fmla="*/ 44450 h 758"/>
                  <a:gd name="T72" fmla="*/ 901439 w 784"/>
                  <a:gd name="T73" fmla="*/ 3556 h 758"/>
                  <a:gd name="T74" fmla="*/ 904995 w 784"/>
                  <a:gd name="T75" fmla="*/ 0 h 758"/>
                  <a:gd name="T76" fmla="*/ 917442 w 784"/>
                  <a:gd name="T77" fmla="*/ 10668 h 758"/>
                  <a:gd name="T78" fmla="*/ 963669 w 784"/>
                  <a:gd name="T79" fmla="*/ 65786 h 758"/>
                  <a:gd name="T80" fmla="*/ 1063236 w 784"/>
                  <a:gd name="T81" fmla="*/ 48006 h 758"/>
                  <a:gd name="T82" fmla="*/ 1034789 w 784"/>
                  <a:gd name="T83" fmla="*/ 128015 h 758"/>
                  <a:gd name="T84" fmla="*/ 1098796 w 784"/>
                  <a:gd name="T85" fmla="*/ 147573 h 7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84"/>
                  <a:gd name="T130" fmla="*/ 0 h 758"/>
                  <a:gd name="T131" fmla="*/ 784 w 784"/>
                  <a:gd name="T132" fmla="*/ 758 h 7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84" h="758">
                    <a:moveTo>
                      <a:pt x="625" y="68"/>
                    </a:moveTo>
                    <a:lnTo>
                      <a:pt x="657" y="56"/>
                    </a:lnTo>
                    <a:lnTo>
                      <a:pt x="663" y="72"/>
                    </a:lnTo>
                    <a:lnTo>
                      <a:pt x="643" y="114"/>
                    </a:lnTo>
                    <a:lnTo>
                      <a:pt x="651" y="139"/>
                    </a:lnTo>
                    <a:lnTo>
                      <a:pt x="624" y="190"/>
                    </a:lnTo>
                    <a:lnTo>
                      <a:pt x="598" y="207"/>
                    </a:lnTo>
                    <a:lnTo>
                      <a:pt x="602" y="243"/>
                    </a:lnTo>
                    <a:lnTo>
                      <a:pt x="646" y="265"/>
                    </a:lnTo>
                    <a:lnTo>
                      <a:pt x="681" y="302"/>
                    </a:lnTo>
                    <a:lnTo>
                      <a:pt x="697" y="306"/>
                    </a:lnTo>
                    <a:lnTo>
                      <a:pt x="718" y="326"/>
                    </a:lnTo>
                    <a:lnTo>
                      <a:pt x="721" y="356"/>
                    </a:lnTo>
                    <a:lnTo>
                      <a:pt x="703" y="400"/>
                    </a:lnTo>
                    <a:lnTo>
                      <a:pt x="718" y="433"/>
                    </a:lnTo>
                    <a:lnTo>
                      <a:pt x="743" y="446"/>
                    </a:lnTo>
                    <a:lnTo>
                      <a:pt x="761" y="500"/>
                    </a:lnTo>
                    <a:lnTo>
                      <a:pt x="756" y="559"/>
                    </a:lnTo>
                    <a:lnTo>
                      <a:pt x="742" y="575"/>
                    </a:lnTo>
                    <a:lnTo>
                      <a:pt x="739" y="590"/>
                    </a:lnTo>
                    <a:lnTo>
                      <a:pt x="784" y="653"/>
                    </a:lnTo>
                    <a:lnTo>
                      <a:pt x="779" y="657"/>
                    </a:lnTo>
                    <a:lnTo>
                      <a:pt x="712" y="672"/>
                    </a:lnTo>
                    <a:lnTo>
                      <a:pt x="688" y="698"/>
                    </a:lnTo>
                    <a:lnTo>
                      <a:pt x="646" y="688"/>
                    </a:lnTo>
                    <a:lnTo>
                      <a:pt x="628" y="718"/>
                    </a:lnTo>
                    <a:lnTo>
                      <a:pt x="623" y="745"/>
                    </a:lnTo>
                    <a:lnTo>
                      <a:pt x="537" y="754"/>
                    </a:lnTo>
                    <a:lnTo>
                      <a:pt x="480" y="735"/>
                    </a:lnTo>
                    <a:lnTo>
                      <a:pt x="471" y="740"/>
                    </a:lnTo>
                    <a:lnTo>
                      <a:pt x="462" y="758"/>
                    </a:lnTo>
                    <a:lnTo>
                      <a:pt x="449" y="754"/>
                    </a:lnTo>
                    <a:lnTo>
                      <a:pt x="442" y="727"/>
                    </a:lnTo>
                    <a:lnTo>
                      <a:pt x="448" y="720"/>
                    </a:lnTo>
                    <a:lnTo>
                      <a:pt x="444" y="699"/>
                    </a:lnTo>
                    <a:lnTo>
                      <a:pt x="411" y="668"/>
                    </a:lnTo>
                    <a:lnTo>
                      <a:pt x="435" y="643"/>
                    </a:lnTo>
                    <a:lnTo>
                      <a:pt x="416" y="598"/>
                    </a:lnTo>
                    <a:lnTo>
                      <a:pt x="319" y="547"/>
                    </a:lnTo>
                    <a:lnTo>
                      <a:pt x="301" y="559"/>
                    </a:lnTo>
                    <a:lnTo>
                      <a:pt x="265" y="550"/>
                    </a:lnTo>
                    <a:lnTo>
                      <a:pt x="222" y="498"/>
                    </a:lnTo>
                    <a:lnTo>
                      <a:pt x="235" y="394"/>
                    </a:lnTo>
                    <a:lnTo>
                      <a:pt x="196" y="384"/>
                    </a:lnTo>
                    <a:lnTo>
                      <a:pt x="197" y="350"/>
                    </a:lnTo>
                    <a:lnTo>
                      <a:pt x="208" y="341"/>
                    </a:lnTo>
                    <a:lnTo>
                      <a:pt x="202" y="294"/>
                    </a:lnTo>
                    <a:lnTo>
                      <a:pt x="211" y="272"/>
                    </a:lnTo>
                    <a:lnTo>
                      <a:pt x="195" y="255"/>
                    </a:lnTo>
                    <a:lnTo>
                      <a:pt x="149" y="268"/>
                    </a:lnTo>
                    <a:lnTo>
                      <a:pt x="68" y="219"/>
                    </a:lnTo>
                    <a:lnTo>
                      <a:pt x="0" y="206"/>
                    </a:lnTo>
                    <a:lnTo>
                      <a:pt x="30" y="182"/>
                    </a:lnTo>
                    <a:lnTo>
                      <a:pt x="48" y="191"/>
                    </a:lnTo>
                    <a:lnTo>
                      <a:pt x="57" y="180"/>
                    </a:lnTo>
                    <a:lnTo>
                      <a:pt x="50" y="152"/>
                    </a:lnTo>
                    <a:lnTo>
                      <a:pt x="68" y="139"/>
                    </a:lnTo>
                    <a:lnTo>
                      <a:pt x="90" y="148"/>
                    </a:lnTo>
                    <a:lnTo>
                      <a:pt x="140" y="123"/>
                    </a:lnTo>
                    <a:lnTo>
                      <a:pt x="155" y="90"/>
                    </a:lnTo>
                    <a:lnTo>
                      <a:pt x="214" y="104"/>
                    </a:lnTo>
                    <a:lnTo>
                      <a:pt x="235" y="126"/>
                    </a:lnTo>
                    <a:lnTo>
                      <a:pt x="276" y="121"/>
                    </a:lnTo>
                    <a:lnTo>
                      <a:pt x="298" y="131"/>
                    </a:lnTo>
                    <a:lnTo>
                      <a:pt x="302" y="141"/>
                    </a:lnTo>
                    <a:lnTo>
                      <a:pt x="349" y="146"/>
                    </a:lnTo>
                    <a:lnTo>
                      <a:pt x="363" y="123"/>
                    </a:lnTo>
                    <a:lnTo>
                      <a:pt x="411" y="99"/>
                    </a:lnTo>
                    <a:lnTo>
                      <a:pt x="429" y="110"/>
                    </a:lnTo>
                    <a:lnTo>
                      <a:pt x="456" y="81"/>
                    </a:lnTo>
                    <a:lnTo>
                      <a:pt x="460" y="50"/>
                    </a:lnTo>
                    <a:lnTo>
                      <a:pt x="484" y="25"/>
                    </a:lnTo>
                    <a:lnTo>
                      <a:pt x="501" y="8"/>
                    </a:lnTo>
                    <a:lnTo>
                      <a:pt x="507" y="2"/>
                    </a:lnTo>
                    <a:lnTo>
                      <a:pt x="509" y="0"/>
                    </a:lnTo>
                    <a:lnTo>
                      <a:pt x="509" y="1"/>
                    </a:lnTo>
                    <a:lnTo>
                      <a:pt x="516" y="6"/>
                    </a:lnTo>
                    <a:lnTo>
                      <a:pt x="527" y="19"/>
                    </a:lnTo>
                    <a:lnTo>
                      <a:pt x="542" y="37"/>
                    </a:lnTo>
                    <a:lnTo>
                      <a:pt x="576" y="23"/>
                    </a:lnTo>
                    <a:lnTo>
                      <a:pt x="598" y="27"/>
                    </a:lnTo>
                    <a:lnTo>
                      <a:pt x="602" y="56"/>
                    </a:lnTo>
                    <a:lnTo>
                      <a:pt x="582" y="72"/>
                    </a:lnTo>
                    <a:lnTo>
                      <a:pt x="585" y="88"/>
                    </a:lnTo>
                    <a:lnTo>
                      <a:pt x="618" y="83"/>
                    </a:lnTo>
                    <a:lnTo>
                      <a:pt x="625" y="68"/>
                    </a:lnTo>
                    <a:close/>
                  </a:path>
                </a:pathLst>
              </a:custGeom>
              <a:solidFill>
                <a:srgbClr val="DCDCDC"/>
              </a:solidFill>
              <a:ln w="9525">
                <a:solidFill>
                  <a:schemeClr val="bg1"/>
                </a:solidFill>
                <a:round/>
                <a:headEnd/>
                <a:tailEnd/>
              </a:ln>
            </p:spPr>
            <p:txBody>
              <a:bodyPr/>
              <a:lstStyle/>
              <a:p>
                <a:endParaRPr lang="de-DE" sz="1350"/>
              </a:p>
            </p:txBody>
          </p:sp>
          <p:sp>
            <p:nvSpPr>
              <p:cNvPr id="15" name="Freeform 7">
                <a:extLst>
                  <a:ext uri="{FF2B5EF4-FFF2-40B4-BE49-F238E27FC236}">
                    <a16:creationId xmlns:a16="http://schemas.microsoft.com/office/drawing/2014/main" id="{5C88AE51-3B55-483C-A91A-CA019D04D8FF}"/>
                  </a:ext>
                </a:extLst>
              </p:cNvPr>
              <p:cNvSpPr>
                <a:spLocks/>
              </p:cNvSpPr>
              <p:nvPr/>
            </p:nvSpPr>
            <p:spPr bwMode="gray">
              <a:xfrm>
                <a:off x="5040866" y="3316208"/>
                <a:ext cx="1193030" cy="940555"/>
              </a:xfrm>
              <a:custGeom>
                <a:avLst/>
                <a:gdLst>
                  <a:gd name="T0" fmla="*/ 1193030 w 671"/>
                  <a:gd name="T1" fmla="*/ 456943 h 529"/>
                  <a:gd name="T2" fmla="*/ 1116577 w 671"/>
                  <a:gd name="T3" fmla="*/ 496058 h 529"/>
                  <a:gd name="T4" fmla="*/ 1050791 w 671"/>
                  <a:gd name="T5" fmla="*/ 483612 h 529"/>
                  <a:gd name="T6" fmla="*/ 1054347 w 671"/>
                  <a:gd name="T7" fmla="*/ 444497 h 529"/>
                  <a:gd name="T8" fmla="*/ 983227 w 671"/>
                  <a:gd name="T9" fmla="*/ 378711 h 529"/>
                  <a:gd name="T10" fmla="*/ 910330 w 671"/>
                  <a:gd name="T11" fmla="*/ 376933 h 529"/>
                  <a:gd name="T12" fmla="*/ 906774 w 671"/>
                  <a:gd name="T13" fmla="*/ 424939 h 529"/>
                  <a:gd name="T14" fmla="*/ 954780 w 671"/>
                  <a:gd name="T15" fmla="*/ 444497 h 529"/>
                  <a:gd name="T16" fmla="*/ 954780 w 671"/>
                  <a:gd name="T17" fmla="*/ 467611 h 529"/>
                  <a:gd name="T18" fmla="*/ 673857 w 671"/>
                  <a:gd name="T19" fmla="*/ 597403 h 529"/>
                  <a:gd name="T20" fmla="*/ 618740 w 671"/>
                  <a:gd name="T21" fmla="*/ 670301 h 529"/>
                  <a:gd name="T22" fmla="*/ 551176 w 671"/>
                  <a:gd name="T23" fmla="*/ 693415 h 529"/>
                  <a:gd name="T24" fmla="*/ 529840 w 671"/>
                  <a:gd name="T25" fmla="*/ 686303 h 529"/>
                  <a:gd name="T26" fmla="*/ 508505 w 671"/>
                  <a:gd name="T27" fmla="*/ 711195 h 529"/>
                  <a:gd name="T28" fmla="*/ 512061 w 671"/>
                  <a:gd name="T29" fmla="*/ 741420 h 529"/>
                  <a:gd name="T30" fmla="*/ 416049 w 671"/>
                  <a:gd name="T31" fmla="*/ 796538 h 529"/>
                  <a:gd name="T32" fmla="*/ 362710 w 671"/>
                  <a:gd name="T33" fmla="*/ 782314 h 529"/>
                  <a:gd name="T34" fmla="*/ 199135 w 671"/>
                  <a:gd name="T35" fmla="*/ 878325 h 529"/>
                  <a:gd name="T36" fmla="*/ 177799 w 671"/>
                  <a:gd name="T37" fmla="*/ 935221 h 529"/>
                  <a:gd name="T38" fmla="*/ 160019 w 671"/>
                  <a:gd name="T39" fmla="*/ 940555 h 529"/>
                  <a:gd name="T40" fmla="*/ 133349 w 671"/>
                  <a:gd name="T41" fmla="*/ 913885 h 529"/>
                  <a:gd name="T42" fmla="*/ 94233 w 671"/>
                  <a:gd name="T43" fmla="*/ 874769 h 529"/>
                  <a:gd name="T44" fmla="*/ 0 w 671"/>
                  <a:gd name="T45" fmla="*/ 814318 h 529"/>
                  <a:gd name="T46" fmla="*/ 16002 w 671"/>
                  <a:gd name="T47" fmla="*/ 734308 h 529"/>
                  <a:gd name="T48" fmla="*/ 33782 w 671"/>
                  <a:gd name="T49" fmla="*/ 720085 h 529"/>
                  <a:gd name="T50" fmla="*/ 90677 w 671"/>
                  <a:gd name="T51" fmla="*/ 720085 h 529"/>
                  <a:gd name="T52" fmla="*/ 140461 w 671"/>
                  <a:gd name="T53" fmla="*/ 643631 h 529"/>
                  <a:gd name="T54" fmla="*/ 112013 w 671"/>
                  <a:gd name="T55" fmla="*/ 570734 h 529"/>
                  <a:gd name="T56" fmla="*/ 257808 w 671"/>
                  <a:gd name="T57" fmla="*/ 481834 h 529"/>
                  <a:gd name="T58" fmla="*/ 247140 w 671"/>
                  <a:gd name="T59" fmla="*/ 448053 h 529"/>
                  <a:gd name="T60" fmla="*/ 112013 w 671"/>
                  <a:gd name="T61" fmla="*/ 392935 h 529"/>
                  <a:gd name="T62" fmla="*/ 44450 w 671"/>
                  <a:gd name="T63" fmla="*/ 163575 h 529"/>
                  <a:gd name="T64" fmla="*/ 85343 w 671"/>
                  <a:gd name="T65" fmla="*/ 101345 h 529"/>
                  <a:gd name="T66" fmla="*/ 289812 w 671"/>
                  <a:gd name="T67" fmla="*/ 19558 h 529"/>
                  <a:gd name="T68" fmla="*/ 318260 w 671"/>
                  <a:gd name="T69" fmla="*/ 42672 h 529"/>
                  <a:gd name="T70" fmla="*/ 337818 w 671"/>
                  <a:gd name="T71" fmla="*/ 37338 h 529"/>
                  <a:gd name="T72" fmla="*/ 359154 w 671"/>
                  <a:gd name="T73" fmla="*/ 10668 h 529"/>
                  <a:gd name="T74" fmla="*/ 385823 w 671"/>
                  <a:gd name="T75" fmla="*/ 19558 h 529"/>
                  <a:gd name="T76" fmla="*/ 444497 w 671"/>
                  <a:gd name="T77" fmla="*/ 74675 h 529"/>
                  <a:gd name="T78" fmla="*/ 451609 w 671"/>
                  <a:gd name="T79" fmla="*/ 112013 h 529"/>
                  <a:gd name="T80" fmla="*/ 440941 w 671"/>
                  <a:gd name="T81" fmla="*/ 124459 h 529"/>
                  <a:gd name="T82" fmla="*/ 453387 w 671"/>
                  <a:gd name="T83" fmla="*/ 172465 h 529"/>
                  <a:gd name="T84" fmla="*/ 476501 w 671"/>
                  <a:gd name="T85" fmla="*/ 179577 h 529"/>
                  <a:gd name="T86" fmla="*/ 492503 w 671"/>
                  <a:gd name="T87" fmla="*/ 147573 h 529"/>
                  <a:gd name="T88" fmla="*/ 508505 w 671"/>
                  <a:gd name="T89" fmla="*/ 138683 h 529"/>
                  <a:gd name="T90" fmla="*/ 609850 w 671"/>
                  <a:gd name="T91" fmla="*/ 172465 h 529"/>
                  <a:gd name="T92" fmla="*/ 762757 w 671"/>
                  <a:gd name="T93" fmla="*/ 156463 h 529"/>
                  <a:gd name="T94" fmla="*/ 771647 w 671"/>
                  <a:gd name="T95" fmla="*/ 108457 h 529"/>
                  <a:gd name="T96" fmla="*/ 803651 w 671"/>
                  <a:gd name="T97" fmla="*/ 55118 h 529"/>
                  <a:gd name="T98" fmla="*/ 878326 w 671"/>
                  <a:gd name="T99" fmla="*/ 72897 h 529"/>
                  <a:gd name="T100" fmla="*/ 920998 w 671"/>
                  <a:gd name="T101" fmla="*/ 26670 h 529"/>
                  <a:gd name="T102" fmla="*/ 1040123 w 671"/>
                  <a:gd name="T103" fmla="*/ 0 h 529"/>
                  <a:gd name="T104" fmla="*/ 1029455 w 671"/>
                  <a:gd name="T105" fmla="*/ 35560 h 529"/>
                  <a:gd name="T106" fmla="*/ 1043679 w 671"/>
                  <a:gd name="T107" fmla="*/ 53340 h 529"/>
                  <a:gd name="T108" fmla="*/ 1105909 w 671"/>
                  <a:gd name="T109" fmla="*/ 69341 h 529"/>
                  <a:gd name="T110" fmla="*/ 1173472 w 671"/>
                  <a:gd name="T111" fmla="*/ 247140 h 529"/>
                  <a:gd name="T112" fmla="*/ 1155692 w 671"/>
                  <a:gd name="T113" fmla="*/ 346707 h 529"/>
                  <a:gd name="T114" fmla="*/ 1193030 w 671"/>
                  <a:gd name="T115" fmla="*/ 389379 h 529"/>
                  <a:gd name="T116" fmla="*/ 1193030 w 671"/>
                  <a:gd name="T117" fmla="*/ 456943 h 5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1"/>
                  <a:gd name="T178" fmla="*/ 0 h 529"/>
                  <a:gd name="T179" fmla="*/ 671 w 671"/>
                  <a:gd name="T180" fmla="*/ 529 h 5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1" h="529">
                    <a:moveTo>
                      <a:pt x="671" y="257"/>
                    </a:moveTo>
                    <a:lnTo>
                      <a:pt x="628" y="279"/>
                    </a:lnTo>
                    <a:lnTo>
                      <a:pt x="591" y="272"/>
                    </a:lnTo>
                    <a:lnTo>
                      <a:pt x="593" y="250"/>
                    </a:lnTo>
                    <a:lnTo>
                      <a:pt x="553" y="213"/>
                    </a:lnTo>
                    <a:lnTo>
                      <a:pt x="512" y="212"/>
                    </a:lnTo>
                    <a:lnTo>
                      <a:pt x="510" y="239"/>
                    </a:lnTo>
                    <a:lnTo>
                      <a:pt x="537" y="250"/>
                    </a:lnTo>
                    <a:lnTo>
                      <a:pt x="537" y="263"/>
                    </a:lnTo>
                    <a:lnTo>
                      <a:pt x="379" y="336"/>
                    </a:lnTo>
                    <a:lnTo>
                      <a:pt x="348" y="377"/>
                    </a:lnTo>
                    <a:lnTo>
                      <a:pt x="310" y="390"/>
                    </a:lnTo>
                    <a:lnTo>
                      <a:pt x="298" y="386"/>
                    </a:lnTo>
                    <a:lnTo>
                      <a:pt x="286" y="400"/>
                    </a:lnTo>
                    <a:lnTo>
                      <a:pt x="288" y="417"/>
                    </a:lnTo>
                    <a:lnTo>
                      <a:pt x="234" y="448"/>
                    </a:lnTo>
                    <a:lnTo>
                      <a:pt x="204" y="440"/>
                    </a:lnTo>
                    <a:lnTo>
                      <a:pt x="112" y="494"/>
                    </a:lnTo>
                    <a:lnTo>
                      <a:pt x="100" y="526"/>
                    </a:lnTo>
                    <a:lnTo>
                      <a:pt x="90" y="529"/>
                    </a:lnTo>
                    <a:lnTo>
                      <a:pt x="75" y="514"/>
                    </a:lnTo>
                    <a:lnTo>
                      <a:pt x="53" y="492"/>
                    </a:lnTo>
                    <a:lnTo>
                      <a:pt x="0" y="458"/>
                    </a:lnTo>
                    <a:lnTo>
                      <a:pt x="9" y="413"/>
                    </a:lnTo>
                    <a:lnTo>
                      <a:pt x="19" y="405"/>
                    </a:lnTo>
                    <a:lnTo>
                      <a:pt x="51" y="405"/>
                    </a:lnTo>
                    <a:lnTo>
                      <a:pt x="79" y="362"/>
                    </a:lnTo>
                    <a:lnTo>
                      <a:pt x="63" y="321"/>
                    </a:lnTo>
                    <a:lnTo>
                      <a:pt x="145" y="271"/>
                    </a:lnTo>
                    <a:lnTo>
                      <a:pt x="139" y="252"/>
                    </a:lnTo>
                    <a:lnTo>
                      <a:pt x="63" y="221"/>
                    </a:lnTo>
                    <a:lnTo>
                      <a:pt x="25" y="92"/>
                    </a:lnTo>
                    <a:lnTo>
                      <a:pt x="48" y="57"/>
                    </a:lnTo>
                    <a:lnTo>
                      <a:pt x="163" y="11"/>
                    </a:lnTo>
                    <a:lnTo>
                      <a:pt x="179" y="24"/>
                    </a:lnTo>
                    <a:lnTo>
                      <a:pt x="190" y="21"/>
                    </a:lnTo>
                    <a:lnTo>
                      <a:pt x="202" y="6"/>
                    </a:lnTo>
                    <a:lnTo>
                      <a:pt x="217" y="11"/>
                    </a:lnTo>
                    <a:lnTo>
                      <a:pt x="250" y="42"/>
                    </a:lnTo>
                    <a:lnTo>
                      <a:pt x="254" y="63"/>
                    </a:lnTo>
                    <a:lnTo>
                      <a:pt x="248" y="70"/>
                    </a:lnTo>
                    <a:lnTo>
                      <a:pt x="255" y="97"/>
                    </a:lnTo>
                    <a:lnTo>
                      <a:pt x="268" y="101"/>
                    </a:lnTo>
                    <a:lnTo>
                      <a:pt x="277" y="83"/>
                    </a:lnTo>
                    <a:lnTo>
                      <a:pt x="286" y="78"/>
                    </a:lnTo>
                    <a:lnTo>
                      <a:pt x="343" y="97"/>
                    </a:lnTo>
                    <a:lnTo>
                      <a:pt x="429" y="88"/>
                    </a:lnTo>
                    <a:lnTo>
                      <a:pt x="434" y="61"/>
                    </a:lnTo>
                    <a:lnTo>
                      <a:pt x="452" y="31"/>
                    </a:lnTo>
                    <a:lnTo>
                      <a:pt x="494" y="41"/>
                    </a:lnTo>
                    <a:lnTo>
                      <a:pt x="518" y="15"/>
                    </a:lnTo>
                    <a:lnTo>
                      <a:pt x="585" y="0"/>
                    </a:lnTo>
                    <a:lnTo>
                      <a:pt x="579" y="20"/>
                    </a:lnTo>
                    <a:lnTo>
                      <a:pt x="587" y="30"/>
                    </a:lnTo>
                    <a:lnTo>
                      <a:pt x="622" y="39"/>
                    </a:lnTo>
                    <a:lnTo>
                      <a:pt x="660" y="139"/>
                    </a:lnTo>
                    <a:lnTo>
                      <a:pt x="650" y="195"/>
                    </a:lnTo>
                    <a:lnTo>
                      <a:pt x="671" y="219"/>
                    </a:lnTo>
                    <a:lnTo>
                      <a:pt x="671" y="257"/>
                    </a:lnTo>
                    <a:close/>
                  </a:path>
                </a:pathLst>
              </a:custGeom>
              <a:solidFill>
                <a:srgbClr val="DCDCDC"/>
              </a:solidFill>
              <a:ln w="9525">
                <a:solidFill>
                  <a:schemeClr val="bg1"/>
                </a:solidFill>
                <a:round/>
                <a:headEnd/>
                <a:tailEnd/>
              </a:ln>
            </p:spPr>
            <p:txBody>
              <a:bodyPr/>
              <a:lstStyle/>
              <a:p>
                <a:endParaRPr lang="de-DE" sz="1350"/>
              </a:p>
            </p:txBody>
          </p:sp>
          <p:sp>
            <p:nvSpPr>
              <p:cNvPr id="16" name="Freeform 8">
                <a:extLst>
                  <a:ext uri="{FF2B5EF4-FFF2-40B4-BE49-F238E27FC236}">
                    <a16:creationId xmlns:a16="http://schemas.microsoft.com/office/drawing/2014/main" id="{CF191308-8156-4AE7-9552-BB471B0EE5EE}"/>
                  </a:ext>
                </a:extLst>
              </p:cNvPr>
              <p:cNvSpPr>
                <a:spLocks/>
              </p:cNvSpPr>
              <p:nvPr/>
            </p:nvSpPr>
            <p:spPr bwMode="gray">
              <a:xfrm>
                <a:off x="4471910" y="2537450"/>
                <a:ext cx="997451" cy="1264149"/>
              </a:xfrm>
              <a:custGeom>
                <a:avLst/>
                <a:gdLst>
                  <a:gd name="T0" fmla="*/ 42672 w 561"/>
                  <a:gd name="T1" fmla="*/ 158241 h 711"/>
                  <a:gd name="T2" fmla="*/ 56896 w 561"/>
                  <a:gd name="T3" fmla="*/ 119125 h 711"/>
                  <a:gd name="T4" fmla="*/ 128015 w 561"/>
                  <a:gd name="T5" fmla="*/ 76453 h 711"/>
                  <a:gd name="T6" fmla="*/ 254252 w 561"/>
                  <a:gd name="T7" fmla="*/ 90677 h 711"/>
                  <a:gd name="T8" fmla="*/ 344930 w 561"/>
                  <a:gd name="T9" fmla="*/ 0 h 711"/>
                  <a:gd name="T10" fmla="*/ 488947 w 561"/>
                  <a:gd name="T11" fmla="*/ 87121 h 711"/>
                  <a:gd name="T12" fmla="*/ 570734 w 561"/>
                  <a:gd name="T13" fmla="*/ 64008 h 711"/>
                  <a:gd name="T14" fmla="*/ 599182 w 561"/>
                  <a:gd name="T15" fmla="*/ 94233 h 711"/>
                  <a:gd name="T16" fmla="*/ 583180 w 561"/>
                  <a:gd name="T17" fmla="*/ 133349 h 711"/>
                  <a:gd name="T18" fmla="*/ 593848 w 561"/>
                  <a:gd name="T19" fmla="*/ 216914 h 711"/>
                  <a:gd name="T20" fmla="*/ 574290 w 561"/>
                  <a:gd name="T21" fmla="*/ 232916 h 711"/>
                  <a:gd name="T22" fmla="*/ 572512 w 561"/>
                  <a:gd name="T23" fmla="*/ 293368 h 711"/>
                  <a:gd name="T24" fmla="*/ 641853 w 561"/>
                  <a:gd name="T25" fmla="*/ 311148 h 711"/>
                  <a:gd name="T26" fmla="*/ 618740 w 561"/>
                  <a:gd name="T27" fmla="*/ 496059 h 711"/>
                  <a:gd name="T28" fmla="*/ 695193 w 561"/>
                  <a:gd name="T29" fmla="*/ 588514 h 711"/>
                  <a:gd name="T30" fmla="*/ 759201 w 561"/>
                  <a:gd name="T31" fmla="*/ 604516 h 711"/>
                  <a:gd name="T32" fmla="*/ 791204 w 561"/>
                  <a:gd name="T33" fmla="*/ 583180 h 711"/>
                  <a:gd name="T34" fmla="*/ 963669 w 561"/>
                  <a:gd name="T35" fmla="*/ 673857 h 711"/>
                  <a:gd name="T36" fmla="*/ 997451 w 561"/>
                  <a:gd name="T37" fmla="*/ 753867 h 711"/>
                  <a:gd name="T38" fmla="*/ 953001 w 561"/>
                  <a:gd name="T39" fmla="*/ 800094 h 711"/>
                  <a:gd name="T40" fmla="*/ 928110 w 561"/>
                  <a:gd name="T41" fmla="*/ 789426 h 711"/>
                  <a:gd name="T42" fmla="*/ 906773 w 561"/>
                  <a:gd name="T43" fmla="*/ 816096 h 711"/>
                  <a:gd name="T44" fmla="*/ 887216 w 561"/>
                  <a:gd name="T45" fmla="*/ 821430 h 711"/>
                  <a:gd name="T46" fmla="*/ 858768 w 561"/>
                  <a:gd name="T47" fmla="*/ 798316 h 711"/>
                  <a:gd name="T48" fmla="*/ 654299 w 561"/>
                  <a:gd name="T49" fmla="*/ 880104 h 711"/>
                  <a:gd name="T50" fmla="*/ 613406 w 561"/>
                  <a:gd name="T51" fmla="*/ 942333 h 711"/>
                  <a:gd name="T52" fmla="*/ 680969 w 561"/>
                  <a:gd name="T53" fmla="*/ 1171694 h 711"/>
                  <a:gd name="T54" fmla="*/ 688081 w 561"/>
                  <a:gd name="T55" fmla="*/ 1232145 h 711"/>
                  <a:gd name="T56" fmla="*/ 673857 w 561"/>
                  <a:gd name="T57" fmla="*/ 1264149 h 711"/>
                  <a:gd name="T58" fmla="*/ 574290 w 561"/>
                  <a:gd name="T59" fmla="*/ 1246369 h 711"/>
                  <a:gd name="T60" fmla="*/ 563622 w 561"/>
                  <a:gd name="T61" fmla="*/ 1221477 h 711"/>
                  <a:gd name="T62" fmla="*/ 366265 w 561"/>
                  <a:gd name="T63" fmla="*/ 1178806 h 711"/>
                  <a:gd name="T64" fmla="*/ 328928 w 561"/>
                  <a:gd name="T65" fmla="*/ 1104130 h 711"/>
                  <a:gd name="T66" fmla="*/ 362709 w 561"/>
                  <a:gd name="T67" fmla="*/ 1065014 h 711"/>
                  <a:gd name="T68" fmla="*/ 328928 w 561"/>
                  <a:gd name="T69" fmla="*/ 1020565 h 711"/>
                  <a:gd name="T70" fmla="*/ 165353 w 561"/>
                  <a:gd name="T71" fmla="*/ 979671 h 711"/>
                  <a:gd name="T72" fmla="*/ 142239 w 561"/>
                  <a:gd name="T73" fmla="*/ 885438 h 711"/>
                  <a:gd name="T74" fmla="*/ 60452 w 561"/>
                  <a:gd name="T75" fmla="*/ 862324 h 711"/>
                  <a:gd name="T76" fmla="*/ 17780 w 561"/>
                  <a:gd name="T77" fmla="*/ 796538 h 711"/>
                  <a:gd name="T78" fmla="*/ 12446 w 561"/>
                  <a:gd name="T79" fmla="*/ 753867 h 711"/>
                  <a:gd name="T80" fmla="*/ 32004 w 561"/>
                  <a:gd name="T81" fmla="*/ 725419 h 711"/>
                  <a:gd name="T82" fmla="*/ 0 w 561"/>
                  <a:gd name="T83" fmla="*/ 640075 h 711"/>
                  <a:gd name="T84" fmla="*/ 167131 w 561"/>
                  <a:gd name="T85" fmla="*/ 567178 h 711"/>
                  <a:gd name="T86" fmla="*/ 160019 w 561"/>
                  <a:gd name="T87" fmla="*/ 416049 h 711"/>
                  <a:gd name="T88" fmla="*/ 122681 w 561"/>
                  <a:gd name="T89" fmla="*/ 368043 h 711"/>
                  <a:gd name="T90" fmla="*/ 126237 w 561"/>
                  <a:gd name="T91" fmla="*/ 312926 h 711"/>
                  <a:gd name="T92" fmla="*/ 42672 w 561"/>
                  <a:gd name="T93" fmla="*/ 158241 h 7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61"/>
                  <a:gd name="T142" fmla="*/ 0 h 711"/>
                  <a:gd name="T143" fmla="*/ 561 w 561"/>
                  <a:gd name="T144" fmla="*/ 711 h 7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61" h="711">
                    <a:moveTo>
                      <a:pt x="24" y="89"/>
                    </a:moveTo>
                    <a:lnTo>
                      <a:pt x="32" y="67"/>
                    </a:lnTo>
                    <a:lnTo>
                      <a:pt x="72" y="43"/>
                    </a:lnTo>
                    <a:lnTo>
                      <a:pt x="143" y="51"/>
                    </a:lnTo>
                    <a:lnTo>
                      <a:pt x="194" y="0"/>
                    </a:lnTo>
                    <a:lnTo>
                      <a:pt x="275" y="49"/>
                    </a:lnTo>
                    <a:lnTo>
                      <a:pt x="321" y="36"/>
                    </a:lnTo>
                    <a:lnTo>
                      <a:pt x="337" y="53"/>
                    </a:lnTo>
                    <a:lnTo>
                      <a:pt x="328" y="75"/>
                    </a:lnTo>
                    <a:lnTo>
                      <a:pt x="334" y="122"/>
                    </a:lnTo>
                    <a:lnTo>
                      <a:pt x="323" y="131"/>
                    </a:lnTo>
                    <a:lnTo>
                      <a:pt x="322" y="165"/>
                    </a:lnTo>
                    <a:lnTo>
                      <a:pt x="361" y="175"/>
                    </a:lnTo>
                    <a:lnTo>
                      <a:pt x="348" y="279"/>
                    </a:lnTo>
                    <a:lnTo>
                      <a:pt x="391" y="331"/>
                    </a:lnTo>
                    <a:lnTo>
                      <a:pt x="427" y="340"/>
                    </a:lnTo>
                    <a:lnTo>
                      <a:pt x="445" y="328"/>
                    </a:lnTo>
                    <a:lnTo>
                      <a:pt x="542" y="379"/>
                    </a:lnTo>
                    <a:lnTo>
                      <a:pt x="561" y="424"/>
                    </a:lnTo>
                    <a:lnTo>
                      <a:pt x="536" y="450"/>
                    </a:lnTo>
                    <a:lnTo>
                      <a:pt x="522" y="444"/>
                    </a:lnTo>
                    <a:lnTo>
                      <a:pt x="510" y="459"/>
                    </a:lnTo>
                    <a:lnTo>
                      <a:pt x="499" y="462"/>
                    </a:lnTo>
                    <a:lnTo>
                      <a:pt x="483" y="449"/>
                    </a:lnTo>
                    <a:lnTo>
                      <a:pt x="368" y="495"/>
                    </a:lnTo>
                    <a:lnTo>
                      <a:pt x="345" y="530"/>
                    </a:lnTo>
                    <a:lnTo>
                      <a:pt x="383" y="659"/>
                    </a:lnTo>
                    <a:lnTo>
                      <a:pt x="387" y="693"/>
                    </a:lnTo>
                    <a:lnTo>
                      <a:pt x="379" y="711"/>
                    </a:lnTo>
                    <a:lnTo>
                      <a:pt x="323" y="701"/>
                    </a:lnTo>
                    <a:lnTo>
                      <a:pt x="317" y="687"/>
                    </a:lnTo>
                    <a:lnTo>
                      <a:pt x="206" y="663"/>
                    </a:lnTo>
                    <a:lnTo>
                      <a:pt x="185" y="621"/>
                    </a:lnTo>
                    <a:lnTo>
                      <a:pt x="204" y="599"/>
                    </a:lnTo>
                    <a:lnTo>
                      <a:pt x="185" y="574"/>
                    </a:lnTo>
                    <a:lnTo>
                      <a:pt x="93" y="551"/>
                    </a:lnTo>
                    <a:lnTo>
                      <a:pt x="80" y="498"/>
                    </a:lnTo>
                    <a:lnTo>
                      <a:pt x="34" y="485"/>
                    </a:lnTo>
                    <a:lnTo>
                      <a:pt x="10" y="448"/>
                    </a:lnTo>
                    <a:lnTo>
                      <a:pt x="7" y="424"/>
                    </a:lnTo>
                    <a:lnTo>
                      <a:pt x="18" y="408"/>
                    </a:lnTo>
                    <a:lnTo>
                      <a:pt x="0" y="360"/>
                    </a:lnTo>
                    <a:lnTo>
                      <a:pt x="94" y="319"/>
                    </a:lnTo>
                    <a:lnTo>
                      <a:pt x="90" y="234"/>
                    </a:lnTo>
                    <a:lnTo>
                      <a:pt x="69" y="207"/>
                    </a:lnTo>
                    <a:lnTo>
                      <a:pt x="71" y="176"/>
                    </a:lnTo>
                    <a:lnTo>
                      <a:pt x="24" y="89"/>
                    </a:lnTo>
                    <a:close/>
                  </a:path>
                </a:pathLst>
              </a:custGeom>
              <a:solidFill>
                <a:srgbClr val="DCDCDC"/>
              </a:solidFill>
              <a:ln w="9525">
                <a:solidFill>
                  <a:schemeClr val="bg1"/>
                </a:solidFill>
                <a:round/>
                <a:headEnd/>
                <a:tailEnd/>
              </a:ln>
            </p:spPr>
            <p:txBody>
              <a:bodyPr/>
              <a:lstStyle/>
              <a:p>
                <a:endParaRPr lang="de-DE" sz="1350"/>
              </a:p>
            </p:txBody>
          </p:sp>
          <p:sp>
            <p:nvSpPr>
              <p:cNvPr id="17" name="Freeform 9">
                <a:extLst>
                  <a:ext uri="{FF2B5EF4-FFF2-40B4-BE49-F238E27FC236}">
                    <a16:creationId xmlns:a16="http://schemas.microsoft.com/office/drawing/2014/main" id="{C6A7113A-6078-4630-8702-452A1239A2DE}"/>
                  </a:ext>
                </a:extLst>
              </p:cNvPr>
              <p:cNvSpPr>
                <a:spLocks/>
              </p:cNvSpPr>
              <p:nvPr/>
            </p:nvSpPr>
            <p:spPr bwMode="gray">
              <a:xfrm>
                <a:off x="4443463" y="1627121"/>
                <a:ext cx="1420612" cy="887216"/>
              </a:xfrm>
              <a:custGeom>
                <a:avLst/>
                <a:gdLst>
                  <a:gd name="T0" fmla="*/ 44450 w 799"/>
                  <a:gd name="T1" fmla="*/ 398269 h 499"/>
                  <a:gd name="T2" fmla="*/ 113791 w 799"/>
                  <a:gd name="T3" fmla="*/ 512061 h 499"/>
                  <a:gd name="T4" fmla="*/ 0 w 799"/>
                  <a:gd name="T5" fmla="*/ 675635 h 499"/>
                  <a:gd name="T6" fmla="*/ 92455 w 799"/>
                  <a:gd name="T7" fmla="*/ 741421 h 499"/>
                  <a:gd name="T8" fmla="*/ 206247 w 799"/>
                  <a:gd name="T9" fmla="*/ 812541 h 499"/>
                  <a:gd name="T10" fmla="*/ 252474 w 799"/>
                  <a:gd name="T11" fmla="*/ 887216 h 499"/>
                  <a:gd name="T12" fmla="*/ 337818 w 799"/>
                  <a:gd name="T13" fmla="*/ 860546 h 499"/>
                  <a:gd name="T14" fmla="*/ 341374 w 799"/>
                  <a:gd name="T15" fmla="*/ 791205 h 499"/>
                  <a:gd name="T16" fmla="*/ 412493 w 799"/>
                  <a:gd name="T17" fmla="*/ 784093 h 499"/>
                  <a:gd name="T18" fmla="*/ 528062 w 799"/>
                  <a:gd name="T19" fmla="*/ 680969 h 499"/>
                  <a:gd name="T20" fmla="*/ 670301 w 799"/>
                  <a:gd name="T21" fmla="*/ 744977 h 499"/>
                  <a:gd name="T22" fmla="*/ 782314 w 799"/>
                  <a:gd name="T23" fmla="*/ 753867 h 499"/>
                  <a:gd name="T24" fmla="*/ 872992 w 799"/>
                  <a:gd name="T25" fmla="*/ 780537 h 499"/>
                  <a:gd name="T26" fmla="*/ 983227 w 799"/>
                  <a:gd name="T27" fmla="*/ 696971 h 499"/>
                  <a:gd name="T28" fmla="*/ 1063237 w 799"/>
                  <a:gd name="T29" fmla="*/ 664968 h 499"/>
                  <a:gd name="T30" fmla="*/ 1113020 w 799"/>
                  <a:gd name="T31" fmla="*/ 565400 h 499"/>
                  <a:gd name="T32" fmla="*/ 1153914 w 799"/>
                  <a:gd name="T33" fmla="*/ 524507 h 499"/>
                  <a:gd name="T34" fmla="*/ 1157470 w 799"/>
                  <a:gd name="T35" fmla="*/ 522729 h 499"/>
                  <a:gd name="T36" fmla="*/ 1169916 w 799"/>
                  <a:gd name="T37" fmla="*/ 531618 h 499"/>
                  <a:gd name="T38" fmla="*/ 1216144 w 799"/>
                  <a:gd name="T39" fmla="*/ 586736 h 499"/>
                  <a:gd name="T40" fmla="*/ 1315711 w 799"/>
                  <a:gd name="T41" fmla="*/ 568956 h 499"/>
                  <a:gd name="T42" fmla="*/ 1287263 w 799"/>
                  <a:gd name="T43" fmla="*/ 648966 h 499"/>
                  <a:gd name="T44" fmla="*/ 1351271 w 799"/>
                  <a:gd name="T45" fmla="*/ 668524 h 499"/>
                  <a:gd name="T46" fmla="*/ 1420612 w 799"/>
                  <a:gd name="T47" fmla="*/ 620518 h 499"/>
                  <a:gd name="T48" fmla="*/ 1294375 w 799"/>
                  <a:gd name="T49" fmla="*/ 394713 h 499"/>
                  <a:gd name="T50" fmla="*/ 1153914 w 799"/>
                  <a:gd name="T51" fmla="*/ 344930 h 499"/>
                  <a:gd name="T52" fmla="*/ 1185918 w 799"/>
                  <a:gd name="T53" fmla="*/ 286256 h 499"/>
                  <a:gd name="T54" fmla="*/ 1134356 w 799"/>
                  <a:gd name="T55" fmla="*/ 193801 h 499"/>
                  <a:gd name="T56" fmla="*/ 1015231 w 799"/>
                  <a:gd name="T57" fmla="*/ 183133 h 499"/>
                  <a:gd name="T58" fmla="*/ 864102 w 799"/>
                  <a:gd name="T59" fmla="*/ 46228 h 499"/>
                  <a:gd name="T60" fmla="*/ 812540 w 799"/>
                  <a:gd name="T61" fmla="*/ 10668 h 499"/>
                  <a:gd name="T62" fmla="*/ 666745 w 799"/>
                  <a:gd name="T63" fmla="*/ 56896 h 499"/>
                  <a:gd name="T64" fmla="*/ 602738 w 799"/>
                  <a:gd name="T65" fmla="*/ 126237 h 499"/>
                  <a:gd name="T66" fmla="*/ 773425 w 799"/>
                  <a:gd name="T67" fmla="*/ 32004 h 499"/>
                  <a:gd name="T68" fmla="*/ 640076 w 799"/>
                  <a:gd name="T69" fmla="*/ 0 h 499"/>
                  <a:gd name="T70" fmla="*/ 430273 w 799"/>
                  <a:gd name="T71" fmla="*/ 215137 h 499"/>
                  <a:gd name="T72" fmla="*/ 334262 w 799"/>
                  <a:gd name="T73" fmla="*/ 240028 h 499"/>
                  <a:gd name="T74" fmla="*/ 298702 w 799"/>
                  <a:gd name="T75" fmla="*/ 320038 h 499"/>
                  <a:gd name="T76" fmla="*/ 282700 w 799"/>
                  <a:gd name="T77" fmla="*/ 368044 h 499"/>
                  <a:gd name="T78" fmla="*/ 218692 w 799"/>
                  <a:gd name="T79" fmla="*/ 364488 h 499"/>
                  <a:gd name="T80" fmla="*/ 124459 w 799"/>
                  <a:gd name="T81" fmla="*/ 323594 h 499"/>
                  <a:gd name="T82" fmla="*/ 72897 w 799"/>
                  <a:gd name="T83" fmla="*/ 389379 h 49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99"/>
                  <a:gd name="T127" fmla="*/ 0 h 499"/>
                  <a:gd name="T128" fmla="*/ 799 w 799"/>
                  <a:gd name="T129" fmla="*/ 499 h 49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99" h="499">
                    <a:moveTo>
                      <a:pt x="41" y="219"/>
                    </a:moveTo>
                    <a:lnTo>
                      <a:pt x="25" y="224"/>
                    </a:lnTo>
                    <a:lnTo>
                      <a:pt x="25" y="268"/>
                    </a:lnTo>
                    <a:lnTo>
                      <a:pt x="64" y="288"/>
                    </a:lnTo>
                    <a:lnTo>
                      <a:pt x="57" y="326"/>
                    </a:lnTo>
                    <a:lnTo>
                      <a:pt x="0" y="380"/>
                    </a:lnTo>
                    <a:lnTo>
                      <a:pt x="2" y="407"/>
                    </a:lnTo>
                    <a:lnTo>
                      <a:pt x="52" y="417"/>
                    </a:lnTo>
                    <a:lnTo>
                      <a:pt x="75" y="408"/>
                    </a:lnTo>
                    <a:lnTo>
                      <a:pt x="116" y="457"/>
                    </a:lnTo>
                    <a:lnTo>
                      <a:pt x="108" y="476"/>
                    </a:lnTo>
                    <a:lnTo>
                      <a:pt x="142" y="499"/>
                    </a:lnTo>
                    <a:lnTo>
                      <a:pt x="172" y="475"/>
                    </a:lnTo>
                    <a:lnTo>
                      <a:pt x="190" y="484"/>
                    </a:lnTo>
                    <a:lnTo>
                      <a:pt x="199" y="473"/>
                    </a:lnTo>
                    <a:lnTo>
                      <a:pt x="192" y="445"/>
                    </a:lnTo>
                    <a:lnTo>
                      <a:pt x="210" y="432"/>
                    </a:lnTo>
                    <a:lnTo>
                      <a:pt x="232" y="441"/>
                    </a:lnTo>
                    <a:lnTo>
                      <a:pt x="282" y="416"/>
                    </a:lnTo>
                    <a:lnTo>
                      <a:pt x="297" y="383"/>
                    </a:lnTo>
                    <a:lnTo>
                      <a:pt x="356" y="397"/>
                    </a:lnTo>
                    <a:lnTo>
                      <a:pt x="377" y="419"/>
                    </a:lnTo>
                    <a:lnTo>
                      <a:pt x="418" y="414"/>
                    </a:lnTo>
                    <a:lnTo>
                      <a:pt x="440" y="424"/>
                    </a:lnTo>
                    <a:lnTo>
                      <a:pt x="444" y="434"/>
                    </a:lnTo>
                    <a:lnTo>
                      <a:pt x="491" y="439"/>
                    </a:lnTo>
                    <a:lnTo>
                      <a:pt x="505" y="416"/>
                    </a:lnTo>
                    <a:lnTo>
                      <a:pt x="553" y="392"/>
                    </a:lnTo>
                    <a:lnTo>
                      <a:pt x="571" y="403"/>
                    </a:lnTo>
                    <a:lnTo>
                      <a:pt x="598" y="374"/>
                    </a:lnTo>
                    <a:lnTo>
                      <a:pt x="602" y="343"/>
                    </a:lnTo>
                    <a:lnTo>
                      <a:pt x="626" y="318"/>
                    </a:lnTo>
                    <a:lnTo>
                      <a:pt x="643" y="301"/>
                    </a:lnTo>
                    <a:lnTo>
                      <a:pt x="649" y="295"/>
                    </a:lnTo>
                    <a:lnTo>
                      <a:pt x="651" y="293"/>
                    </a:lnTo>
                    <a:lnTo>
                      <a:pt x="651" y="294"/>
                    </a:lnTo>
                    <a:lnTo>
                      <a:pt x="653" y="294"/>
                    </a:lnTo>
                    <a:lnTo>
                      <a:pt x="658" y="299"/>
                    </a:lnTo>
                    <a:lnTo>
                      <a:pt x="669" y="312"/>
                    </a:lnTo>
                    <a:lnTo>
                      <a:pt x="684" y="330"/>
                    </a:lnTo>
                    <a:lnTo>
                      <a:pt x="718" y="316"/>
                    </a:lnTo>
                    <a:lnTo>
                      <a:pt x="740" y="320"/>
                    </a:lnTo>
                    <a:lnTo>
                      <a:pt x="744" y="349"/>
                    </a:lnTo>
                    <a:lnTo>
                      <a:pt x="724" y="365"/>
                    </a:lnTo>
                    <a:lnTo>
                      <a:pt x="727" y="381"/>
                    </a:lnTo>
                    <a:lnTo>
                      <a:pt x="760" y="376"/>
                    </a:lnTo>
                    <a:lnTo>
                      <a:pt x="767" y="361"/>
                    </a:lnTo>
                    <a:lnTo>
                      <a:pt x="799" y="349"/>
                    </a:lnTo>
                    <a:lnTo>
                      <a:pt x="770" y="253"/>
                    </a:lnTo>
                    <a:lnTo>
                      <a:pt x="728" y="222"/>
                    </a:lnTo>
                    <a:lnTo>
                      <a:pt x="708" y="225"/>
                    </a:lnTo>
                    <a:lnTo>
                      <a:pt x="649" y="194"/>
                    </a:lnTo>
                    <a:lnTo>
                      <a:pt x="645" y="187"/>
                    </a:lnTo>
                    <a:lnTo>
                      <a:pt x="667" y="161"/>
                    </a:lnTo>
                    <a:lnTo>
                      <a:pt x="631" y="134"/>
                    </a:lnTo>
                    <a:lnTo>
                      <a:pt x="638" y="109"/>
                    </a:lnTo>
                    <a:lnTo>
                      <a:pt x="613" y="83"/>
                    </a:lnTo>
                    <a:lnTo>
                      <a:pt x="571" y="103"/>
                    </a:lnTo>
                    <a:lnTo>
                      <a:pt x="491" y="59"/>
                    </a:lnTo>
                    <a:lnTo>
                      <a:pt x="486" y="26"/>
                    </a:lnTo>
                    <a:lnTo>
                      <a:pt x="468" y="3"/>
                    </a:lnTo>
                    <a:lnTo>
                      <a:pt x="457" y="6"/>
                    </a:lnTo>
                    <a:lnTo>
                      <a:pt x="426" y="35"/>
                    </a:lnTo>
                    <a:lnTo>
                      <a:pt x="375" y="32"/>
                    </a:lnTo>
                    <a:lnTo>
                      <a:pt x="361" y="45"/>
                    </a:lnTo>
                    <a:lnTo>
                      <a:pt x="339" y="71"/>
                    </a:lnTo>
                    <a:lnTo>
                      <a:pt x="373" y="26"/>
                    </a:lnTo>
                    <a:lnTo>
                      <a:pt x="435" y="18"/>
                    </a:lnTo>
                    <a:lnTo>
                      <a:pt x="440" y="1"/>
                    </a:lnTo>
                    <a:lnTo>
                      <a:pt x="360" y="0"/>
                    </a:lnTo>
                    <a:lnTo>
                      <a:pt x="302" y="82"/>
                    </a:lnTo>
                    <a:lnTo>
                      <a:pt x="242" y="121"/>
                    </a:lnTo>
                    <a:lnTo>
                      <a:pt x="206" y="119"/>
                    </a:lnTo>
                    <a:lnTo>
                      <a:pt x="188" y="135"/>
                    </a:lnTo>
                    <a:lnTo>
                      <a:pt x="184" y="163"/>
                    </a:lnTo>
                    <a:lnTo>
                      <a:pt x="168" y="180"/>
                    </a:lnTo>
                    <a:lnTo>
                      <a:pt x="169" y="190"/>
                    </a:lnTo>
                    <a:lnTo>
                      <a:pt x="159" y="207"/>
                    </a:lnTo>
                    <a:lnTo>
                      <a:pt x="130" y="198"/>
                    </a:lnTo>
                    <a:lnTo>
                      <a:pt x="123" y="205"/>
                    </a:lnTo>
                    <a:lnTo>
                      <a:pt x="106" y="179"/>
                    </a:lnTo>
                    <a:lnTo>
                      <a:pt x="70" y="182"/>
                    </a:lnTo>
                    <a:lnTo>
                      <a:pt x="52" y="195"/>
                    </a:lnTo>
                    <a:lnTo>
                      <a:pt x="41" y="219"/>
                    </a:lnTo>
                    <a:close/>
                  </a:path>
                </a:pathLst>
              </a:custGeom>
              <a:solidFill>
                <a:srgbClr val="DCDCDC"/>
              </a:solidFill>
              <a:ln w="9525">
                <a:solidFill>
                  <a:schemeClr val="bg1"/>
                </a:solidFill>
                <a:round/>
                <a:headEnd/>
                <a:tailEnd/>
              </a:ln>
            </p:spPr>
            <p:txBody>
              <a:bodyPr/>
              <a:lstStyle/>
              <a:p>
                <a:endParaRPr lang="de-DE" sz="1350"/>
              </a:p>
            </p:txBody>
          </p:sp>
          <p:sp>
            <p:nvSpPr>
              <p:cNvPr id="18" name="Freeform 10">
                <a:extLst>
                  <a:ext uri="{FF2B5EF4-FFF2-40B4-BE49-F238E27FC236}">
                    <a16:creationId xmlns:a16="http://schemas.microsoft.com/office/drawing/2014/main" id="{3464106A-C13B-4EB7-8857-4F0E8ACE3B99}"/>
                  </a:ext>
                </a:extLst>
              </p:cNvPr>
              <p:cNvSpPr>
                <a:spLocks/>
              </p:cNvSpPr>
              <p:nvPr/>
            </p:nvSpPr>
            <p:spPr bwMode="gray">
              <a:xfrm>
                <a:off x="5572485" y="1756914"/>
                <a:ext cx="195579" cy="209802"/>
              </a:xfrm>
              <a:custGeom>
                <a:avLst/>
                <a:gdLst>
                  <a:gd name="T0" fmla="*/ 195579 w 160"/>
                  <a:gd name="T1" fmla="*/ 130053 h 171"/>
                  <a:gd name="T2" fmla="*/ 190690 w 160"/>
                  <a:gd name="T3" fmla="*/ 177902 h 171"/>
                  <a:gd name="T4" fmla="*/ 66008 w 160"/>
                  <a:gd name="T5" fmla="*/ 209802 h 171"/>
                  <a:gd name="T6" fmla="*/ 42783 w 160"/>
                  <a:gd name="T7" fmla="*/ 187718 h 171"/>
                  <a:gd name="T8" fmla="*/ 116125 w 160"/>
                  <a:gd name="T9" fmla="*/ 137414 h 171"/>
                  <a:gd name="T10" fmla="*/ 116125 w 160"/>
                  <a:gd name="T11" fmla="*/ 109195 h 171"/>
                  <a:gd name="T12" fmla="*/ 77009 w 160"/>
                  <a:gd name="T13" fmla="*/ 82203 h 171"/>
                  <a:gd name="T14" fmla="*/ 48895 w 160"/>
                  <a:gd name="T15" fmla="*/ 114103 h 171"/>
                  <a:gd name="T16" fmla="*/ 9779 w 160"/>
                  <a:gd name="T17" fmla="*/ 105514 h 171"/>
                  <a:gd name="T18" fmla="*/ 19558 w 160"/>
                  <a:gd name="T19" fmla="*/ 49076 h 171"/>
                  <a:gd name="T20" fmla="*/ 0 w 160"/>
                  <a:gd name="T21" fmla="*/ 26992 h 171"/>
                  <a:gd name="T22" fmla="*/ 15891 w 160"/>
                  <a:gd name="T23" fmla="*/ 0 h 171"/>
                  <a:gd name="T24" fmla="*/ 195579 w 160"/>
                  <a:gd name="T25" fmla="*/ 130053 h 1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0"/>
                  <a:gd name="T40" fmla="*/ 0 h 171"/>
                  <a:gd name="T41" fmla="*/ 160 w 160"/>
                  <a:gd name="T42" fmla="*/ 171 h 1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0" h="171">
                    <a:moveTo>
                      <a:pt x="160" y="106"/>
                    </a:moveTo>
                    <a:lnTo>
                      <a:pt x="156" y="145"/>
                    </a:lnTo>
                    <a:lnTo>
                      <a:pt x="54" y="171"/>
                    </a:lnTo>
                    <a:lnTo>
                      <a:pt x="35" y="153"/>
                    </a:lnTo>
                    <a:lnTo>
                      <a:pt x="95" y="112"/>
                    </a:lnTo>
                    <a:lnTo>
                      <a:pt x="95" y="89"/>
                    </a:lnTo>
                    <a:lnTo>
                      <a:pt x="63" y="67"/>
                    </a:lnTo>
                    <a:lnTo>
                      <a:pt x="40" y="93"/>
                    </a:lnTo>
                    <a:lnTo>
                      <a:pt x="8" y="86"/>
                    </a:lnTo>
                    <a:lnTo>
                      <a:pt x="16" y="40"/>
                    </a:lnTo>
                    <a:lnTo>
                      <a:pt x="0" y="22"/>
                    </a:lnTo>
                    <a:lnTo>
                      <a:pt x="13" y="0"/>
                    </a:lnTo>
                    <a:lnTo>
                      <a:pt x="160" y="106"/>
                    </a:lnTo>
                    <a:close/>
                  </a:path>
                </a:pathLst>
              </a:custGeom>
              <a:solidFill>
                <a:srgbClr val="DCDCDC"/>
              </a:solidFill>
              <a:ln w="9525">
                <a:solidFill>
                  <a:schemeClr val="bg1"/>
                </a:solidFill>
                <a:round/>
                <a:headEnd/>
                <a:tailEnd/>
              </a:ln>
            </p:spPr>
            <p:txBody>
              <a:bodyPr/>
              <a:lstStyle/>
              <a:p>
                <a:endParaRPr lang="de-DE" sz="1350"/>
              </a:p>
            </p:txBody>
          </p:sp>
          <p:sp>
            <p:nvSpPr>
              <p:cNvPr id="19" name="Freeform 11">
                <a:extLst>
                  <a:ext uri="{FF2B5EF4-FFF2-40B4-BE49-F238E27FC236}">
                    <a16:creationId xmlns:a16="http://schemas.microsoft.com/office/drawing/2014/main" id="{7429383A-4AEA-44D8-A746-087A3A6FE458}"/>
                  </a:ext>
                </a:extLst>
              </p:cNvPr>
              <p:cNvSpPr>
                <a:spLocks/>
              </p:cNvSpPr>
              <p:nvPr/>
            </p:nvSpPr>
            <p:spPr bwMode="gray">
              <a:xfrm>
                <a:off x="5320010" y="1452878"/>
                <a:ext cx="232916" cy="284478"/>
              </a:xfrm>
              <a:custGeom>
                <a:avLst/>
                <a:gdLst>
                  <a:gd name="T0" fmla="*/ 96124 w 189"/>
                  <a:gd name="T1" fmla="*/ 284478 h 231"/>
                  <a:gd name="T2" fmla="*/ 1232 w 189"/>
                  <a:gd name="T3" fmla="*/ 215514 h 231"/>
                  <a:gd name="T4" fmla="*/ 19718 w 189"/>
                  <a:gd name="T5" fmla="*/ 199504 h 231"/>
                  <a:gd name="T6" fmla="*/ 43133 w 189"/>
                  <a:gd name="T7" fmla="*/ 172411 h 231"/>
                  <a:gd name="T8" fmla="*/ 0 w 189"/>
                  <a:gd name="T9" fmla="*/ 160096 h 231"/>
                  <a:gd name="T10" fmla="*/ 13556 w 189"/>
                  <a:gd name="T11" fmla="*/ 104678 h 231"/>
                  <a:gd name="T12" fmla="*/ 83800 w 189"/>
                  <a:gd name="T13" fmla="*/ 92363 h 231"/>
                  <a:gd name="T14" fmla="*/ 80103 w 189"/>
                  <a:gd name="T15" fmla="*/ 55418 h 231"/>
                  <a:gd name="T16" fmla="*/ 56689 w 189"/>
                  <a:gd name="T17" fmla="*/ 46797 h 231"/>
                  <a:gd name="T18" fmla="*/ 18485 w 189"/>
                  <a:gd name="T19" fmla="*/ 70196 h 231"/>
                  <a:gd name="T20" fmla="*/ 14788 w 189"/>
                  <a:gd name="T21" fmla="*/ 45566 h 231"/>
                  <a:gd name="T22" fmla="*/ 50527 w 189"/>
                  <a:gd name="T23" fmla="*/ 0 h 231"/>
                  <a:gd name="T24" fmla="*/ 88730 w 189"/>
                  <a:gd name="T25" fmla="*/ 8621 h 231"/>
                  <a:gd name="T26" fmla="*/ 129398 w 189"/>
                  <a:gd name="T27" fmla="*/ 48029 h 231"/>
                  <a:gd name="T28" fmla="*/ 184854 w 189"/>
                  <a:gd name="T29" fmla="*/ 54186 h 231"/>
                  <a:gd name="T30" fmla="*/ 199642 w 189"/>
                  <a:gd name="T31" fmla="*/ 98521 h 231"/>
                  <a:gd name="T32" fmla="*/ 158974 w 189"/>
                  <a:gd name="T33" fmla="*/ 135466 h 231"/>
                  <a:gd name="T34" fmla="*/ 176227 w 189"/>
                  <a:gd name="T35" fmla="*/ 167485 h 231"/>
                  <a:gd name="T36" fmla="*/ 232916 w 189"/>
                  <a:gd name="T37" fmla="*/ 217977 h 231"/>
                  <a:gd name="T38" fmla="*/ 208269 w 189"/>
                  <a:gd name="T39" fmla="*/ 243838 h 231"/>
                  <a:gd name="T40" fmla="*/ 174995 w 189"/>
                  <a:gd name="T41" fmla="*/ 220440 h 231"/>
                  <a:gd name="T42" fmla="*/ 103518 w 189"/>
                  <a:gd name="T43" fmla="*/ 237681 h 231"/>
                  <a:gd name="T44" fmla="*/ 96124 w 189"/>
                  <a:gd name="T45" fmla="*/ 284478 h 2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9"/>
                  <a:gd name="T70" fmla="*/ 0 h 231"/>
                  <a:gd name="T71" fmla="*/ 189 w 189"/>
                  <a:gd name="T72" fmla="*/ 231 h 2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9" h="231">
                    <a:moveTo>
                      <a:pt x="78" y="231"/>
                    </a:moveTo>
                    <a:lnTo>
                      <a:pt x="1" y="175"/>
                    </a:lnTo>
                    <a:lnTo>
                      <a:pt x="16" y="162"/>
                    </a:lnTo>
                    <a:lnTo>
                      <a:pt x="35" y="140"/>
                    </a:lnTo>
                    <a:lnTo>
                      <a:pt x="0" y="130"/>
                    </a:lnTo>
                    <a:lnTo>
                      <a:pt x="11" y="85"/>
                    </a:lnTo>
                    <a:lnTo>
                      <a:pt x="68" y="75"/>
                    </a:lnTo>
                    <a:lnTo>
                      <a:pt x="65" y="45"/>
                    </a:lnTo>
                    <a:lnTo>
                      <a:pt x="46" y="38"/>
                    </a:lnTo>
                    <a:lnTo>
                      <a:pt x="15" y="57"/>
                    </a:lnTo>
                    <a:lnTo>
                      <a:pt x="12" y="37"/>
                    </a:lnTo>
                    <a:lnTo>
                      <a:pt x="41" y="0"/>
                    </a:lnTo>
                    <a:lnTo>
                      <a:pt x="72" y="7"/>
                    </a:lnTo>
                    <a:lnTo>
                      <a:pt x="105" y="39"/>
                    </a:lnTo>
                    <a:lnTo>
                      <a:pt x="150" y="44"/>
                    </a:lnTo>
                    <a:lnTo>
                      <a:pt x="162" y="80"/>
                    </a:lnTo>
                    <a:lnTo>
                      <a:pt x="129" y="110"/>
                    </a:lnTo>
                    <a:lnTo>
                      <a:pt x="143" y="136"/>
                    </a:lnTo>
                    <a:lnTo>
                      <a:pt x="189" y="177"/>
                    </a:lnTo>
                    <a:lnTo>
                      <a:pt x="169" y="198"/>
                    </a:lnTo>
                    <a:lnTo>
                      <a:pt x="142" y="179"/>
                    </a:lnTo>
                    <a:lnTo>
                      <a:pt x="84" y="193"/>
                    </a:lnTo>
                    <a:lnTo>
                      <a:pt x="78" y="231"/>
                    </a:lnTo>
                    <a:close/>
                  </a:path>
                </a:pathLst>
              </a:custGeom>
              <a:solidFill>
                <a:srgbClr val="DCDCDC"/>
              </a:solidFill>
              <a:ln w="9525">
                <a:solidFill>
                  <a:schemeClr val="bg1"/>
                </a:solidFill>
                <a:round/>
                <a:headEnd/>
                <a:tailEnd/>
              </a:ln>
            </p:spPr>
            <p:txBody>
              <a:bodyPr/>
              <a:lstStyle/>
              <a:p>
                <a:endParaRPr lang="de-DE" sz="1350"/>
              </a:p>
            </p:txBody>
          </p:sp>
          <p:sp>
            <p:nvSpPr>
              <p:cNvPr id="20" name="Freeform 12">
                <a:extLst>
                  <a:ext uri="{FF2B5EF4-FFF2-40B4-BE49-F238E27FC236}">
                    <a16:creationId xmlns:a16="http://schemas.microsoft.com/office/drawing/2014/main" id="{3A04B058-CB1F-4096-B632-CE886E074D9A}"/>
                  </a:ext>
                </a:extLst>
              </p:cNvPr>
              <p:cNvSpPr>
                <a:spLocks/>
              </p:cNvSpPr>
              <p:nvPr/>
            </p:nvSpPr>
            <p:spPr bwMode="gray">
              <a:xfrm>
                <a:off x="3678928" y="1427986"/>
                <a:ext cx="910330" cy="933443"/>
              </a:xfrm>
              <a:custGeom>
                <a:avLst/>
                <a:gdLst>
                  <a:gd name="T0" fmla="*/ 851656 w 512"/>
                  <a:gd name="T1" fmla="*/ 282700 h 525"/>
                  <a:gd name="T2" fmla="*/ 753867 w 512"/>
                  <a:gd name="T3" fmla="*/ 328927 h 525"/>
                  <a:gd name="T4" fmla="*/ 625852 w 512"/>
                  <a:gd name="T5" fmla="*/ 259586 h 525"/>
                  <a:gd name="T6" fmla="*/ 560066 w 512"/>
                  <a:gd name="T7" fmla="*/ 336039 h 525"/>
                  <a:gd name="T8" fmla="*/ 563622 w 512"/>
                  <a:gd name="T9" fmla="*/ 296924 h 525"/>
                  <a:gd name="T10" fmla="*/ 545842 w 512"/>
                  <a:gd name="T11" fmla="*/ 241806 h 525"/>
                  <a:gd name="T12" fmla="*/ 440941 w 512"/>
                  <a:gd name="T13" fmla="*/ 250696 h 525"/>
                  <a:gd name="T14" fmla="*/ 513839 w 512"/>
                  <a:gd name="T15" fmla="*/ 117347 h 525"/>
                  <a:gd name="T16" fmla="*/ 334262 w 512"/>
                  <a:gd name="T17" fmla="*/ 14224 h 525"/>
                  <a:gd name="T18" fmla="*/ 62230 w 512"/>
                  <a:gd name="T19" fmla="*/ 0 h 525"/>
                  <a:gd name="T20" fmla="*/ 1778 w 512"/>
                  <a:gd name="T21" fmla="*/ 58674 h 525"/>
                  <a:gd name="T22" fmla="*/ 152907 w 512"/>
                  <a:gd name="T23" fmla="*/ 280922 h 525"/>
                  <a:gd name="T24" fmla="*/ 19558 w 512"/>
                  <a:gd name="T25" fmla="*/ 312926 h 525"/>
                  <a:gd name="T26" fmla="*/ 30226 w 512"/>
                  <a:gd name="T27" fmla="*/ 382267 h 525"/>
                  <a:gd name="T28" fmla="*/ 115569 w 512"/>
                  <a:gd name="T29" fmla="*/ 387601 h 525"/>
                  <a:gd name="T30" fmla="*/ 85343 w 512"/>
                  <a:gd name="T31" fmla="*/ 462277 h 525"/>
                  <a:gd name="T32" fmla="*/ 152907 w 512"/>
                  <a:gd name="T33" fmla="*/ 520950 h 525"/>
                  <a:gd name="T34" fmla="*/ 99567 w 512"/>
                  <a:gd name="T35" fmla="*/ 536952 h 525"/>
                  <a:gd name="T36" fmla="*/ 252474 w 512"/>
                  <a:gd name="T37" fmla="*/ 613405 h 525"/>
                  <a:gd name="T38" fmla="*/ 432051 w 512"/>
                  <a:gd name="T39" fmla="*/ 810762 h 525"/>
                  <a:gd name="T40" fmla="*/ 449831 w 512"/>
                  <a:gd name="T41" fmla="*/ 764534 h 525"/>
                  <a:gd name="T42" fmla="*/ 485391 w 512"/>
                  <a:gd name="T43" fmla="*/ 755644 h 525"/>
                  <a:gd name="T44" fmla="*/ 576068 w 512"/>
                  <a:gd name="T45" fmla="*/ 675635 h 525"/>
                  <a:gd name="T46" fmla="*/ 590292 w 512"/>
                  <a:gd name="T47" fmla="*/ 723640 h 525"/>
                  <a:gd name="T48" fmla="*/ 579624 w 512"/>
                  <a:gd name="T49" fmla="*/ 805428 h 525"/>
                  <a:gd name="T50" fmla="*/ 675635 w 512"/>
                  <a:gd name="T51" fmla="*/ 881881 h 525"/>
                  <a:gd name="T52" fmla="*/ 725419 w 512"/>
                  <a:gd name="T53" fmla="*/ 912107 h 525"/>
                  <a:gd name="T54" fmla="*/ 753867 w 512"/>
                  <a:gd name="T55" fmla="*/ 933443 h 525"/>
                  <a:gd name="T56" fmla="*/ 764535 w 512"/>
                  <a:gd name="T57" fmla="*/ 874769 h 525"/>
                  <a:gd name="T58" fmla="*/ 824986 w 512"/>
                  <a:gd name="T59" fmla="*/ 817874 h 525"/>
                  <a:gd name="T60" fmla="*/ 876548 w 512"/>
                  <a:gd name="T61" fmla="*/ 712973 h 525"/>
                  <a:gd name="T62" fmla="*/ 807207 w 512"/>
                  <a:gd name="T63" fmla="*/ 599181 h 525"/>
                  <a:gd name="T64" fmla="*/ 844544 w 512"/>
                  <a:gd name="T65" fmla="*/ 574290 h 525"/>
                  <a:gd name="T66" fmla="*/ 844544 w 512"/>
                  <a:gd name="T67" fmla="*/ 574290 h 525"/>
                  <a:gd name="T68" fmla="*/ 832098 w 512"/>
                  <a:gd name="T69" fmla="*/ 528062 h 525"/>
                  <a:gd name="T70" fmla="*/ 789427 w 512"/>
                  <a:gd name="T71" fmla="*/ 487168 h 525"/>
                  <a:gd name="T72" fmla="*/ 910330 w 512"/>
                  <a:gd name="T73" fmla="*/ 389379 h 5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2"/>
                  <a:gd name="T112" fmla="*/ 0 h 525"/>
                  <a:gd name="T113" fmla="*/ 512 w 512"/>
                  <a:gd name="T114" fmla="*/ 525 h 52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2" h="525">
                    <a:moveTo>
                      <a:pt x="505" y="168"/>
                    </a:moveTo>
                    <a:lnTo>
                      <a:pt x="479" y="159"/>
                    </a:lnTo>
                    <a:lnTo>
                      <a:pt x="435" y="189"/>
                    </a:lnTo>
                    <a:lnTo>
                      <a:pt x="424" y="185"/>
                    </a:lnTo>
                    <a:lnTo>
                      <a:pt x="413" y="171"/>
                    </a:lnTo>
                    <a:lnTo>
                      <a:pt x="352" y="146"/>
                    </a:lnTo>
                    <a:lnTo>
                      <a:pt x="334" y="154"/>
                    </a:lnTo>
                    <a:lnTo>
                      <a:pt x="315" y="189"/>
                    </a:lnTo>
                    <a:lnTo>
                      <a:pt x="311" y="186"/>
                    </a:lnTo>
                    <a:lnTo>
                      <a:pt x="317" y="167"/>
                    </a:lnTo>
                    <a:lnTo>
                      <a:pt x="322" y="144"/>
                    </a:lnTo>
                    <a:lnTo>
                      <a:pt x="307" y="136"/>
                    </a:lnTo>
                    <a:lnTo>
                      <a:pt x="261" y="147"/>
                    </a:lnTo>
                    <a:lnTo>
                      <a:pt x="248" y="141"/>
                    </a:lnTo>
                    <a:lnTo>
                      <a:pt x="286" y="119"/>
                    </a:lnTo>
                    <a:lnTo>
                      <a:pt x="289" y="66"/>
                    </a:lnTo>
                    <a:lnTo>
                      <a:pt x="273" y="37"/>
                    </a:lnTo>
                    <a:lnTo>
                      <a:pt x="188" y="8"/>
                    </a:lnTo>
                    <a:lnTo>
                      <a:pt x="168" y="19"/>
                    </a:lnTo>
                    <a:lnTo>
                      <a:pt x="35" y="0"/>
                    </a:lnTo>
                    <a:lnTo>
                      <a:pt x="0" y="10"/>
                    </a:lnTo>
                    <a:lnTo>
                      <a:pt x="1" y="33"/>
                    </a:lnTo>
                    <a:lnTo>
                      <a:pt x="70" y="117"/>
                    </a:lnTo>
                    <a:lnTo>
                      <a:pt x="86" y="158"/>
                    </a:lnTo>
                    <a:lnTo>
                      <a:pt x="75" y="159"/>
                    </a:lnTo>
                    <a:lnTo>
                      <a:pt x="11" y="176"/>
                    </a:lnTo>
                    <a:lnTo>
                      <a:pt x="1" y="193"/>
                    </a:lnTo>
                    <a:lnTo>
                      <a:pt x="17" y="215"/>
                    </a:lnTo>
                    <a:lnTo>
                      <a:pt x="63" y="205"/>
                    </a:lnTo>
                    <a:lnTo>
                      <a:pt x="65" y="218"/>
                    </a:lnTo>
                    <a:lnTo>
                      <a:pt x="50" y="221"/>
                    </a:lnTo>
                    <a:lnTo>
                      <a:pt x="48" y="260"/>
                    </a:lnTo>
                    <a:lnTo>
                      <a:pt x="79" y="265"/>
                    </a:lnTo>
                    <a:lnTo>
                      <a:pt x="86" y="293"/>
                    </a:lnTo>
                    <a:lnTo>
                      <a:pt x="58" y="289"/>
                    </a:lnTo>
                    <a:lnTo>
                      <a:pt x="56" y="302"/>
                    </a:lnTo>
                    <a:lnTo>
                      <a:pt x="85" y="342"/>
                    </a:lnTo>
                    <a:lnTo>
                      <a:pt x="142" y="345"/>
                    </a:lnTo>
                    <a:lnTo>
                      <a:pt x="204" y="412"/>
                    </a:lnTo>
                    <a:lnTo>
                      <a:pt x="243" y="456"/>
                    </a:lnTo>
                    <a:lnTo>
                      <a:pt x="248" y="432"/>
                    </a:lnTo>
                    <a:lnTo>
                      <a:pt x="253" y="430"/>
                    </a:lnTo>
                    <a:lnTo>
                      <a:pt x="264" y="444"/>
                    </a:lnTo>
                    <a:lnTo>
                      <a:pt x="273" y="425"/>
                    </a:lnTo>
                    <a:lnTo>
                      <a:pt x="297" y="410"/>
                    </a:lnTo>
                    <a:lnTo>
                      <a:pt x="324" y="380"/>
                    </a:lnTo>
                    <a:lnTo>
                      <a:pt x="334" y="381"/>
                    </a:lnTo>
                    <a:lnTo>
                      <a:pt x="332" y="407"/>
                    </a:lnTo>
                    <a:lnTo>
                      <a:pt x="338" y="420"/>
                    </a:lnTo>
                    <a:lnTo>
                      <a:pt x="326" y="453"/>
                    </a:lnTo>
                    <a:lnTo>
                      <a:pt x="336" y="457"/>
                    </a:lnTo>
                    <a:lnTo>
                      <a:pt x="380" y="496"/>
                    </a:lnTo>
                    <a:lnTo>
                      <a:pt x="383" y="506"/>
                    </a:lnTo>
                    <a:lnTo>
                      <a:pt x="408" y="513"/>
                    </a:lnTo>
                    <a:lnTo>
                      <a:pt x="417" y="524"/>
                    </a:lnTo>
                    <a:lnTo>
                      <a:pt x="424" y="525"/>
                    </a:lnTo>
                    <a:lnTo>
                      <a:pt x="433" y="519"/>
                    </a:lnTo>
                    <a:lnTo>
                      <a:pt x="430" y="492"/>
                    </a:lnTo>
                    <a:lnTo>
                      <a:pt x="463" y="468"/>
                    </a:lnTo>
                    <a:lnTo>
                      <a:pt x="464" y="460"/>
                    </a:lnTo>
                    <a:lnTo>
                      <a:pt x="487" y="438"/>
                    </a:lnTo>
                    <a:lnTo>
                      <a:pt x="493" y="401"/>
                    </a:lnTo>
                    <a:lnTo>
                      <a:pt x="455" y="380"/>
                    </a:lnTo>
                    <a:lnTo>
                      <a:pt x="454" y="337"/>
                    </a:lnTo>
                    <a:lnTo>
                      <a:pt x="471" y="331"/>
                    </a:lnTo>
                    <a:lnTo>
                      <a:pt x="475" y="323"/>
                    </a:lnTo>
                    <a:lnTo>
                      <a:pt x="482" y="307"/>
                    </a:lnTo>
                    <a:lnTo>
                      <a:pt x="475" y="323"/>
                    </a:lnTo>
                    <a:lnTo>
                      <a:pt x="475" y="297"/>
                    </a:lnTo>
                    <a:lnTo>
                      <a:pt x="468" y="297"/>
                    </a:lnTo>
                    <a:lnTo>
                      <a:pt x="460" y="300"/>
                    </a:lnTo>
                    <a:lnTo>
                      <a:pt x="444" y="274"/>
                    </a:lnTo>
                    <a:lnTo>
                      <a:pt x="508" y="226"/>
                    </a:lnTo>
                    <a:lnTo>
                      <a:pt x="512" y="219"/>
                    </a:lnTo>
                    <a:lnTo>
                      <a:pt x="505" y="168"/>
                    </a:lnTo>
                    <a:close/>
                  </a:path>
                </a:pathLst>
              </a:custGeom>
              <a:solidFill>
                <a:srgbClr val="DCDCDC"/>
              </a:solidFill>
              <a:ln w="9525">
                <a:solidFill>
                  <a:schemeClr val="bg1"/>
                </a:solidFill>
                <a:round/>
                <a:headEnd/>
                <a:tailEnd/>
              </a:ln>
            </p:spPr>
            <p:txBody>
              <a:bodyPr/>
              <a:lstStyle/>
              <a:p>
                <a:endParaRPr lang="de-DE" sz="1350"/>
              </a:p>
            </p:txBody>
          </p:sp>
          <p:sp>
            <p:nvSpPr>
              <p:cNvPr id="21" name="Freeform 13">
                <a:extLst>
                  <a:ext uri="{FF2B5EF4-FFF2-40B4-BE49-F238E27FC236}">
                    <a16:creationId xmlns:a16="http://schemas.microsoft.com/office/drawing/2014/main" id="{6C79A1E4-0C5B-431E-A76C-EC7ED6D7B375}"/>
                  </a:ext>
                </a:extLst>
              </p:cNvPr>
              <p:cNvSpPr>
                <a:spLocks/>
              </p:cNvSpPr>
              <p:nvPr/>
            </p:nvSpPr>
            <p:spPr bwMode="gray">
              <a:xfrm>
                <a:off x="4539474" y="1611119"/>
                <a:ext cx="120903" cy="85343"/>
              </a:xfrm>
              <a:custGeom>
                <a:avLst/>
                <a:gdLst>
                  <a:gd name="T0" fmla="*/ 42743 w 99"/>
                  <a:gd name="T1" fmla="*/ 85343 h 70"/>
                  <a:gd name="T2" fmla="*/ 0 w 99"/>
                  <a:gd name="T3" fmla="*/ 60959 h 70"/>
                  <a:gd name="T4" fmla="*/ 15876 w 99"/>
                  <a:gd name="T5" fmla="*/ 3658 h 70"/>
                  <a:gd name="T6" fmla="*/ 58620 w 99"/>
                  <a:gd name="T7" fmla="*/ 0 h 70"/>
                  <a:gd name="T8" fmla="*/ 101363 w 99"/>
                  <a:gd name="T9" fmla="*/ 31699 h 70"/>
                  <a:gd name="T10" fmla="*/ 120903 w 99"/>
                  <a:gd name="T11" fmla="*/ 85343 h 70"/>
                  <a:gd name="T12" fmla="*/ 42743 w 99"/>
                  <a:gd name="T13" fmla="*/ 85343 h 70"/>
                  <a:gd name="T14" fmla="*/ 0 60000 65536"/>
                  <a:gd name="T15" fmla="*/ 0 60000 65536"/>
                  <a:gd name="T16" fmla="*/ 0 60000 65536"/>
                  <a:gd name="T17" fmla="*/ 0 60000 65536"/>
                  <a:gd name="T18" fmla="*/ 0 60000 65536"/>
                  <a:gd name="T19" fmla="*/ 0 60000 65536"/>
                  <a:gd name="T20" fmla="*/ 0 60000 65536"/>
                  <a:gd name="T21" fmla="*/ 0 w 99"/>
                  <a:gd name="T22" fmla="*/ 0 h 70"/>
                  <a:gd name="T23" fmla="*/ 99 w 99"/>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70">
                    <a:moveTo>
                      <a:pt x="35" y="70"/>
                    </a:moveTo>
                    <a:lnTo>
                      <a:pt x="0" y="50"/>
                    </a:lnTo>
                    <a:lnTo>
                      <a:pt x="13" y="3"/>
                    </a:lnTo>
                    <a:lnTo>
                      <a:pt x="48" y="0"/>
                    </a:lnTo>
                    <a:lnTo>
                      <a:pt x="83" y="26"/>
                    </a:lnTo>
                    <a:lnTo>
                      <a:pt x="99" y="70"/>
                    </a:lnTo>
                    <a:lnTo>
                      <a:pt x="35" y="70"/>
                    </a:lnTo>
                    <a:close/>
                  </a:path>
                </a:pathLst>
              </a:custGeom>
              <a:solidFill>
                <a:srgbClr val="DCDCDC"/>
              </a:solidFill>
              <a:ln w="9525">
                <a:solidFill>
                  <a:schemeClr val="bg1"/>
                </a:solidFill>
                <a:round/>
                <a:headEnd/>
                <a:tailEnd/>
              </a:ln>
            </p:spPr>
            <p:txBody>
              <a:bodyPr/>
              <a:lstStyle/>
              <a:p>
                <a:endParaRPr lang="de-DE" sz="1350"/>
              </a:p>
            </p:txBody>
          </p:sp>
          <p:sp>
            <p:nvSpPr>
              <p:cNvPr id="22" name="Freeform 14">
                <a:extLst>
                  <a:ext uri="{FF2B5EF4-FFF2-40B4-BE49-F238E27FC236}">
                    <a16:creationId xmlns:a16="http://schemas.microsoft.com/office/drawing/2014/main" id="{6CA955B9-1BB2-402C-B8E1-50F87BA6621E}"/>
                  </a:ext>
                </a:extLst>
              </p:cNvPr>
              <p:cNvSpPr>
                <a:spLocks/>
              </p:cNvSpPr>
              <p:nvPr/>
            </p:nvSpPr>
            <p:spPr bwMode="gray">
              <a:xfrm>
                <a:off x="3542023" y="1331975"/>
                <a:ext cx="97789" cy="199135"/>
              </a:xfrm>
              <a:custGeom>
                <a:avLst/>
                <a:gdLst>
                  <a:gd name="T0" fmla="*/ 84343 w 80"/>
                  <a:gd name="T1" fmla="*/ 15882 h 163"/>
                  <a:gd name="T2" fmla="*/ 51339 w 80"/>
                  <a:gd name="T3" fmla="*/ 100178 h 163"/>
                  <a:gd name="T4" fmla="*/ 97789 w 80"/>
                  <a:gd name="T5" fmla="*/ 100178 h 163"/>
                  <a:gd name="T6" fmla="*/ 96567 w 80"/>
                  <a:gd name="T7" fmla="*/ 118504 h 163"/>
                  <a:gd name="T8" fmla="*/ 57451 w 80"/>
                  <a:gd name="T9" fmla="*/ 140494 h 163"/>
                  <a:gd name="T10" fmla="*/ 39116 w 80"/>
                  <a:gd name="T11" fmla="*/ 135607 h 163"/>
                  <a:gd name="T12" fmla="*/ 29337 w 80"/>
                  <a:gd name="T13" fmla="*/ 199135 h 163"/>
                  <a:gd name="T14" fmla="*/ 0 w 80"/>
                  <a:gd name="T15" fmla="*/ 195470 h 163"/>
                  <a:gd name="T16" fmla="*/ 15891 w 80"/>
                  <a:gd name="T17" fmla="*/ 73301 h 163"/>
                  <a:gd name="T18" fmla="*/ 48895 w 80"/>
                  <a:gd name="T19" fmla="*/ 0 h 163"/>
                  <a:gd name="T20" fmla="*/ 84343 w 80"/>
                  <a:gd name="T21" fmla="*/ 15882 h 1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163"/>
                  <a:gd name="T35" fmla="*/ 80 w 80"/>
                  <a:gd name="T36" fmla="*/ 163 h 1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163">
                    <a:moveTo>
                      <a:pt x="69" y="13"/>
                    </a:moveTo>
                    <a:lnTo>
                      <a:pt x="42" y="82"/>
                    </a:lnTo>
                    <a:lnTo>
                      <a:pt x="80" y="82"/>
                    </a:lnTo>
                    <a:lnTo>
                      <a:pt x="79" y="97"/>
                    </a:lnTo>
                    <a:lnTo>
                      <a:pt x="47" y="115"/>
                    </a:lnTo>
                    <a:lnTo>
                      <a:pt x="32" y="111"/>
                    </a:lnTo>
                    <a:lnTo>
                      <a:pt x="24" y="163"/>
                    </a:lnTo>
                    <a:lnTo>
                      <a:pt x="0" y="160"/>
                    </a:lnTo>
                    <a:lnTo>
                      <a:pt x="13" y="60"/>
                    </a:lnTo>
                    <a:lnTo>
                      <a:pt x="40" y="0"/>
                    </a:lnTo>
                    <a:lnTo>
                      <a:pt x="69" y="13"/>
                    </a:lnTo>
                    <a:close/>
                  </a:path>
                </a:pathLst>
              </a:custGeom>
              <a:solidFill>
                <a:srgbClr val="DCDCDC"/>
              </a:solidFill>
              <a:ln w="9525">
                <a:solidFill>
                  <a:schemeClr val="bg1"/>
                </a:solidFill>
                <a:round/>
                <a:headEnd/>
                <a:tailEnd/>
              </a:ln>
            </p:spPr>
            <p:txBody>
              <a:bodyPr/>
              <a:lstStyle/>
              <a:p>
                <a:endParaRPr lang="de-DE" sz="1350"/>
              </a:p>
            </p:txBody>
          </p:sp>
          <p:sp>
            <p:nvSpPr>
              <p:cNvPr id="23" name="Freeform 15">
                <a:extLst>
                  <a:ext uri="{FF2B5EF4-FFF2-40B4-BE49-F238E27FC236}">
                    <a16:creationId xmlns:a16="http://schemas.microsoft.com/office/drawing/2014/main" id="{530699D4-9FF0-4612-806D-FEC2E2CFCCE6}"/>
                  </a:ext>
                </a:extLst>
              </p:cNvPr>
              <p:cNvSpPr>
                <a:spLocks/>
              </p:cNvSpPr>
              <p:nvPr/>
            </p:nvSpPr>
            <p:spPr bwMode="gray">
              <a:xfrm>
                <a:off x="3597141" y="1507996"/>
                <a:ext cx="81787" cy="62230"/>
              </a:xfrm>
              <a:custGeom>
                <a:avLst/>
                <a:gdLst>
                  <a:gd name="T0" fmla="*/ 81787 w 66"/>
                  <a:gd name="T1" fmla="*/ 16180 h 50"/>
                  <a:gd name="T2" fmla="*/ 70634 w 66"/>
                  <a:gd name="T3" fmla="*/ 53518 h 50"/>
                  <a:gd name="T4" fmla="*/ 26023 w 66"/>
                  <a:gd name="T5" fmla="*/ 62230 h 50"/>
                  <a:gd name="T6" fmla="*/ 0 w 66"/>
                  <a:gd name="T7" fmla="*/ 44806 h 50"/>
                  <a:gd name="T8" fmla="*/ 21066 w 66"/>
                  <a:gd name="T9" fmla="*/ 4978 h 50"/>
                  <a:gd name="T10" fmla="*/ 71873 w 66"/>
                  <a:gd name="T11" fmla="*/ 0 h 50"/>
                  <a:gd name="T12" fmla="*/ 81787 w 66"/>
                  <a:gd name="T13" fmla="*/ 16180 h 50"/>
                  <a:gd name="T14" fmla="*/ 0 60000 65536"/>
                  <a:gd name="T15" fmla="*/ 0 60000 65536"/>
                  <a:gd name="T16" fmla="*/ 0 60000 65536"/>
                  <a:gd name="T17" fmla="*/ 0 60000 65536"/>
                  <a:gd name="T18" fmla="*/ 0 60000 65536"/>
                  <a:gd name="T19" fmla="*/ 0 60000 65536"/>
                  <a:gd name="T20" fmla="*/ 0 60000 65536"/>
                  <a:gd name="T21" fmla="*/ 0 w 66"/>
                  <a:gd name="T22" fmla="*/ 0 h 50"/>
                  <a:gd name="T23" fmla="*/ 66 w 66"/>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 h="50">
                    <a:moveTo>
                      <a:pt x="66" y="13"/>
                    </a:moveTo>
                    <a:lnTo>
                      <a:pt x="57" y="43"/>
                    </a:lnTo>
                    <a:lnTo>
                      <a:pt x="21" y="50"/>
                    </a:lnTo>
                    <a:lnTo>
                      <a:pt x="0" y="36"/>
                    </a:lnTo>
                    <a:lnTo>
                      <a:pt x="17" y="4"/>
                    </a:lnTo>
                    <a:lnTo>
                      <a:pt x="58" y="0"/>
                    </a:lnTo>
                    <a:lnTo>
                      <a:pt x="66" y="13"/>
                    </a:lnTo>
                    <a:close/>
                  </a:path>
                </a:pathLst>
              </a:custGeom>
              <a:solidFill>
                <a:srgbClr val="DCDCDC"/>
              </a:solidFill>
              <a:ln w="9525">
                <a:solidFill>
                  <a:schemeClr val="bg1"/>
                </a:solidFill>
                <a:round/>
                <a:headEnd/>
                <a:tailEnd/>
              </a:ln>
            </p:spPr>
            <p:txBody>
              <a:bodyPr/>
              <a:lstStyle/>
              <a:p>
                <a:endParaRPr lang="de-DE" sz="1350"/>
              </a:p>
            </p:txBody>
          </p:sp>
          <p:sp>
            <p:nvSpPr>
              <p:cNvPr id="24" name="Freeform 16">
                <a:extLst>
                  <a:ext uri="{FF2B5EF4-FFF2-40B4-BE49-F238E27FC236}">
                    <a16:creationId xmlns:a16="http://schemas.microsoft.com/office/drawing/2014/main" id="{C0F40475-B1F5-4532-B9C5-E2E114643ACD}"/>
                  </a:ext>
                </a:extLst>
              </p:cNvPr>
              <p:cNvSpPr>
                <a:spLocks/>
              </p:cNvSpPr>
              <p:nvPr/>
            </p:nvSpPr>
            <p:spPr bwMode="gray">
              <a:xfrm>
                <a:off x="2697479" y="2884158"/>
                <a:ext cx="1344158" cy="1376162"/>
              </a:xfrm>
              <a:custGeom>
                <a:avLst/>
                <a:gdLst>
                  <a:gd name="T0" fmla="*/ 707639 w 756"/>
                  <a:gd name="T1" fmla="*/ 1017009 h 774"/>
                  <a:gd name="T2" fmla="*/ 688081 w 756"/>
                  <a:gd name="T3" fmla="*/ 1098796 h 774"/>
                  <a:gd name="T4" fmla="*/ 643631 w 756"/>
                  <a:gd name="T5" fmla="*/ 1104130 h 774"/>
                  <a:gd name="T6" fmla="*/ 330706 w 756"/>
                  <a:gd name="T7" fmla="*/ 1306821 h 774"/>
                  <a:gd name="T8" fmla="*/ 222248 w 756"/>
                  <a:gd name="T9" fmla="*/ 1376162 h 774"/>
                  <a:gd name="T10" fmla="*/ 177799 w 756"/>
                  <a:gd name="T11" fmla="*/ 1315710 h 774"/>
                  <a:gd name="T12" fmla="*/ 30226 w 756"/>
                  <a:gd name="T13" fmla="*/ 1084572 h 774"/>
                  <a:gd name="T14" fmla="*/ 48006 w 756"/>
                  <a:gd name="T15" fmla="*/ 974337 h 774"/>
                  <a:gd name="T16" fmla="*/ 0 w 756"/>
                  <a:gd name="T17" fmla="*/ 929887 h 774"/>
                  <a:gd name="T18" fmla="*/ 129793 w 756"/>
                  <a:gd name="T19" fmla="*/ 636519 h 774"/>
                  <a:gd name="T20" fmla="*/ 24892 w 756"/>
                  <a:gd name="T21" fmla="*/ 448053 h 774"/>
                  <a:gd name="T22" fmla="*/ 211580 w 756"/>
                  <a:gd name="T23" fmla="*/ 432051 h 774"/>
                  <a:gd name="T24" fmla="*/ 353819 w 756"/>
                  <a:gd name="T25" fmla="*/ 346707 h 774"/>
                  <a:gd name="T26" fmla="*/ 328928 w 756"/>
                  <a:gd name="T27" fmla="*/ 263142 h 774"/>
                  <a:gd name="T28" fmla="*/ 446275 w 756"/>
                  <a:gd name="T29" fmla="*/ 184911 h 774"/>
                  <a:gd name="T30" fmla="*/ 625851 w 756"/>
                  <a:gd name="T31" fmla="*/ 110235 h 774"/>
                  <a:gd name="T32" fmla="*/ 679191 w 756"/>
                  <a:gd name="T33" fmla="*/ 49784 h 774"/>
                  <a:gd name="T34" fmla="*/ 753866 w 756"/>
                  <a:gd name="T35" fmla="*/ 213358 h 774"/>
                  <a:gd name="T36" fmla="*/ 787648 w 756"/>
                  <a:gd name="T37" fmla="*/ 252474 h 774"/>
                  <a:gd name="T38" fmla="*/ 796538 w 756"/>
                  <a:gd name="T39" fmla="*/ 316482 h 774"/>
                  <a:gd name="T40" fmla="*/ 947667 w 756"/>
                  <a:gd name="T41" fmla="*/ 257808 h 774"/>
                  <a:gd name="T42" fmla="*/ 897883 w 756"/>
                  <a:gd name="T43" fmla="*/ 53340 h 774"/>
                  <a:gd name="T44" fmla="*/ 1054346 w 756"/>
                  <a:gd name="T45" fmla="*/ 16002 h 774"/>
                  <a:gd name="T46" fmla="*/ 1157469 w 756"/>
                  <a:gd name="T47" fmla="*/ 72897 h 774"/>
                  <a:gd name="T48" fmla="*/ 1217921 w 756"/>
                  <a:gd name="T49" fmla="*/ 72897 h 774"/>
                  <a:gd name="T50" fmla="*/ 1306820 w 756"/>
                  <a:gd name="T51" fmla="*/ 414271 h 774"/>
                  <a:gd name="T52" fmla="*/ 1338824 w 756"/>
                  <a:gd name="T53" fmla="*/ 556510 h 774"/>
                  <a:gd name="T54" fmla="*/ 1216143 w 756"/>
                  <a:gd name="T55" fmla="*/ 691637 h 774"/>
                  <a:gd name="T56" fmla="*/ 1137912 w 756"/>
                  <a:gd name="T57" fmla="*/ 657855 h 774"/>
                  <a:gd name="T58" fmla="*/ 1043678 w 756"/>
                  <a:gd name="T59" fmla="*/ 800094 h 774"/>
                  <a:gd name="T60" fmla="*/ 1102352 w 756"/>
                  <a:gd name="T61" fmla="*/ 846322 h 774"/>
                  <a:gd name="T62" fmla="*/ 860546 w 756"/>
                  <a:gd name="T63" fmla="*/ 1157470 h 7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56"/>
                  <a:gd name="T97" fmla="*/ 0 h 774"/>
                  <a:gd name="T98" fmla="*/ 756 w 756"/>
                  <a:gd name="T99" fmla="*/ 774 h 7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56" h="774">
                    <a:moveTo>
                      <a:pt x="406" y="568"/>
                    </a:moveTo>
                    <a:lnTo>
                      <a:pt x="398" y="572"/>
                    </a:lnTo>
                    <a:lnTo>
                      <a:pt x="386" y="601"/>
                    </a:lnTo>
                    <a:lnTo>
                      <a:pt x="387" y="618"/>
                    </a:lnTo>
                    <a:lnTo>
                      <a:pt x="371" y="624"/>
                    </a:lnTo>
                    <a:lnTo>
                      <a:pt x="362" y="621"/>
                    </a:lnTo>
                    <a:lnTo>
                      <a:pt x="190" y="719"/>
                    </a:lnTo>
                    <a:lnTo>
                      <a:pt x="186" y="735"/>
                    </a:lnTo>
                    <a:lnTo>
                      <a:pt x="197" y="773"/>
                    </a:lnTo>
                    <a:lnTo>
                      <a:pt x="125" y="774"/>
                    </a:lnTo>
                    <a:lnTo>
                      <a:pt x="99" y="756"/>
                    </a:lnTo>
                    <a:lnTo>
                      <a:pt x="100" y="740"/>
                    </a:lnTo>
                    <a:lnTo>
                      <a:pt x="66" y="711"/>
                    </a:lnTo>
                    <a:lnTo>
                      <a:pt x="17" y="610"/>
                    </a:lnTo>
                    <a:lnTo>
                      <a:pt x="44" y="601"/>
                    </a:lnTo>
                    <a:lnTo>
                      <a:pt x="27" y="548"/>
                    </a:lnTo>
                    <a:lnTo>
                      <a:pt x="5" y="542"/>
                    </a:lnTo>
                    <a:lnTo>
                      <a:pt x="0" y="523"/>
                    </a:lnTo>
                    <a:lnTo>
                      <a:pt x="71" y="424"/>
                    </a:lnTo>
                    <a:lnTo>
                      <a:pt x="73" y="358"/>
                    </a:lnTo>
                    <a:lnTo>
                      <a:pt x="45" y="332"/>
                    </a:lnTo>
                    <a:lnTo>
                      <a:pt x="14" y="252"/>
                    </a:lnTo>
                    <a:lnTo>
                      <a:pt x="50" y="226"/>
                    </a:lnTo>
                    <a:lnTo>
                      <a:pt x="119" y="243"/>
                    </a:lnTo>
                    <a:lnTo>
                      <a:pt x="178" y="232"/>
                    </a:lnTo>
                    <a:lnTo>
                      <a:pt x="199" y="195"/>
                    </a:lnTo>
                    <a:lnTo>
                      <a:pt x="165" y="175"/>
                    </a:lnTo>
                    <a:lnTo>
                      <a:pt x="185" y="148"/>
                    </a:lnTo>
                    <a:lnTo>
                      <a:pt x="202" y="150"/>
                    </a:lnTo>
                    <a:lnTo>
                      <a:pt x="251" y="104"/>
                    </a:lnTo>
                    <a:lnTo>
                      <a:pt x="300" y="99"/>
                    </a:lnTo>
                    <a:lnTo>
                      <a:pt x="352" y="62"/>
                    </a:lnTo>
                    <a:lnTo>
                      <a:pt x="359" y="26"/>
                    </a:lnTo>
                    <a:lnTo>
                      <a:pt x="382" y="28"/>
                    </a:lnTo>
                    <a:lnTo>
                      <a:pt x="438" y="66"/>
                    </a:lnTo>
                    <a:lnTo>
                      <a:pt x="424" y="120"/>
                    </a:lnTo>
                    <a:lnTo>
                      <a:pt x="447" y="127"/>
                    </a:lnTo>
                    <a:lnTo>
                      <a:pt x="443" y="142"/>
                    </a:lnTo>
                    <a:lnTo>
                      <a:pt x="412" y="155"/>
                    </a:lnTo>
                    <a:lnTo>
                      <a:pt x="448" y="178"/>
                    </a:lnTo>
                    <a:lnTo>
                      <a:pt x="505" y="138"/>
                    </a:lnTo>
                    <a:lnTo>
                      <a:pt x="533" y="145"/>
                    </a:lnTo>
                    <a:lnTo>
                      <a:pt x="553" y="126"/>
                    </a:lnTo>
                    <a:lnTo>
                      <a:pt x="505" y="30"/>
                    </a:lnTo>
                    <a:lnTo>
                      <a:pt x="583" y="0"/>
                    </a:lnTo>
                    <a:lnTo>
                      <a:pt x="593" y="9"/>
                    </a:lnTo>
                    <a:lnTo>
                      <a:pt x="593" y="40"/>
                    </a:lnTo>
                    <a:lnTo>
                      <a:pt x="651" y="41"/>
                    </a:lnTo>
                    <a:lnTo>
                      <a:pt x="665" y="16"/>
                    </a:lnTo>
                    <a:lnTo>
                      <a:pt x="685" y="41"/>
                    </a:lnTo>
                    <a:lnTo>
                      <a:pt x="653" y="88"/>
                    </a:lnTo>
                    <a:lnTo>
                      <a:pt x="735" y="233"/>
                    </a:lnTo>
                    <a:lnTo>
                      <a:pt x="756" y="234"/>
                    </a:lnTo>
                    <a:lnTo>
                      <a:pt x="753" y="313"/>
                    </a:lnTo>
                    <a:lnTo>
                      <a:pt x="706" y="390"/>
                    </a:lnTo>
                    <a:lnTo>
                      <a:pt x="684" y="389"/>
                    </a:lnTo>
                    <a:lnTo>
                      <a:pt x="682" y="365"/>
                    </a:lnTo>
                    <a:lnTo>
                      <a:pt x="640" y="370"/>
                    </a:lnTo>
                    <a:lnTo>
                      <a:pt x="574" y="438"/>
                    </a:lnTo>
                    <a:lnTo>
                      <a:pt x="587" y="450"/>
                    </a:lnTo>
                    <a:lnTo>
                      <a:pt x="604" y="438"/>
                    </a:lnTo>
                    <a:lnTo>
                      <a:pt x="620" y="476"/>
                    </a:lnTo>
                    <a:lnTo>
                      <a:pt x="564" y="509"/>
                    </a:lnTo>
                    <a:lnTo>
                      <a:pt x="484" y="651"/>
                    </a:lnTo>
                    <a:lnTo>
                      <a:pt x="406" y="568"/>
                    </a:lnTo>
                    <a:close/>
                  </a:path>
                </a:pathLst>
              </a:custGeom>
              <a:solidFill>
                <a:srgbClr val="DCDCDC"/>
              </a:solidFill>
              <a:ln w="9525">
                <a:solidFill>
                  <a:schemeClr val="bg1"/>
                </a:solidFill>
                <a:round/>
                <a:headEnd/>
                <a:tailEnd/>
              </a:ln>
            </p:spPr>
            <p:txBody>
              <a:bodyPr/>
              <a:lstStyle/>
              <a:p>
                <a:endParaRPr lang="de-DE" sz="1350"/>
              </a:p>
            </p:txBody>
          </p:sp>
          <p:sp>
            <p:nvSpPr>
              <p:cNvPr id="25" name="Freeform 17">
                <a:extLst>
                  <a:ext uri="{FF2B5EF4-FFF2-40B4-BE49-F238E27FC236}">
                    <a16:creationId xmlns:a16="http://schemas.microsoft.com/office/drawing/2014/main" id="{3F8EEF0B-C9E1-4E04-91C5-5F53DB6EF800}"/>
                  </a:ext>
                </a:extLst>
              </p:cNvPr>
              <p:cNvSpPr>
                <a:spLocks/>
              </p:cNvSpPr>
              <p:nvPr/>
            </p:nvSpPr>
            <p:spPr bwMode="gray">
              <a:xfrm>
                <a:off x="3428232" y="3438890"/>
                <a:ext cx="936999" cy="1321044"/>
              </a:xfrm>
              <a:custGeom>
                <a:avLst/>
                <a:gdLst>
                  <a:gd name="T0" fmla="*/ 131571 w 527"/>
                  <a:gd name="T1" fmla="*/ 600959 h 743"/>
                  <a:gd name="T2" fmla="*/ 272032 w 527"/>
                  <a:gd name="T3" fmla="*/ 350263 h 743"/>
                  <a:gd name="T4" fmla="*/ 371599 w 527"/>
                  <a:gd name="T5" fmla="*/ 291590 h 743"/>
                  <a:gd name="T6" fmla="*/ 343151 w 527"/>
                  <a:gd name="T7" fmla="*/ 224026 h 743"/>
                  <a:gd name="T8" fmla="*/ 312926 w 527"/>
                  <a:gd name="T9" fmla="*/ 245362 h 743"/>
                  <a:gd name="T10" fmla="*/ 289812 w 527"/>
                  <a:gd name="T11" fmla="*/ 224026 h 743"/>
                  <a:gd name="T12" fmla="*/ 407159 w 527"/>
                  <a:gd name="T13" fmla="*/ 103123 h 743"/>
                  <a:gd name="T14" fmla="*/ 481834 w 527"/>
                  <a:gd name="T15" fmla="*/ 94233 h 743"/>
                  <a:gd name="T16" fmla="*/ 485390 w 527"/>
                  <a:gd name="T17" fmla="*/ 136905 h 743"/>
                  <a:gd name="T18" fmla="*/ 524506 w 527"/>
                  <a:gd name="T19" fmla="*/ 138683 h 743"/>
                  <a:gd name="T20" fmla="*/ 608071 w 527"/>
                  <a:gd name="T21" fmla="*/ 1778 h 743"/>
                  <a:gd name="T22" fmla="*/ 696971 w 527"/>
                  <a:gd name="T23" fmla="*/ 0 h 743"/>
                  <a:gd name="T24" fmla="*/ 711195 w 527"/>
                  <a:gd name="T25" fmla="*/ 46228 h 743"/>
                  <a:gd name="T26" fmla="*/ 663189 w 527"/>
                  <a:gd name="T27" fmla="*/ 186689 h 743"/>
                  <a:gd name="T28" fmla="*/ 718307 w 527"/>
                  <a:gd name="T29" fmla="*/ 209802 h 743"/>
                  <a:gd name="T30" fmla="*/ 768090 w 527"/>
                  <a:gd name="T31" fmla="*/ 124459 h 743"/>
                  <a:gd name="T32" fmla="*/ 816096 w 527"/>
                  <a:gd name="T33" fmla="*/ 154685 h 743"/>
                  <a:gd name="T34" fmla="*/ 936999 w 527"/>
                  <a:gd name="T35" fmla="*/ 263142 h 743"/>
                  <a:gd name="T36" fmla="*/ 920997 w 527"/>
                  <a:gd name="T37" fmla="*/ 384045 h 743"/>
                  <a:gd name="T38" fmla="*/ 839210 w 527"/>
                  <a:gd name="T39" fmla="*/ 480056 h 743"/>
                  <a:gd name="T40" fmla="*/ 814318 w 527"/>
                  <a:gd name="T41" fmla="*/ 576068 h 743"/>
                  <a:gd name="T42" fmla="*/ 894327 w 527"/>
                  <a:gd name="T43" fmla="*/ 600959 h 743"/>
                  <a:gd name="T44" fmla="*/ 912107 w 527"/>
                  <a:gd name="T45" fmla="*/ 654299 h 743"/>
                  <a:gd name="T46" fmla="*/ 819652 w 527"/>
                  <a:gd name="T47" fmla="*/ 760978 h 743"/>
                  <a:gd name="T48" fmla="*/ 773424 w 527"/>
                  <a:gd name="T49" fmla="*/ 744976 h 743"/>
                  <a:gd name="T50" fmla="*/ 734308 w 527"/>
                  <a:gd name="T51" fmla="*/ 771646 h 743"/>
                  <a:gd name="T52" fmla="*/ 734308 w 527"/>
                  <a:gd name="T53" fmla="*/ 867657 h 743"/>
                  <a:gd name="T54" fmla="*/ 679191 w 527"/>
                  <a:gd name="T55" fmla="*/ 871213 h 743"/>
                  <a:gd name="T56" fmla="*/ 682747 w 527"/>
                  <a:gd name="T57" fmla="*/ 945889 h 743"/>
                  <a:gd name="T58" fmla="*/ 641853 w 527"/>
                  <a:gd name="T59" fmla="*/ 953001 h 743"/>
                  <a:gd name="T60" fmla="*/ 625851 w 527"/>
                  <a:gd name="T61" fmla="*/ 931665 h 743"/>
                  <a:gd name="T62" fmla="*/ 471166 w 527"/>
                  <a:gd name="T63" fmla="*/ 961891 h 743"/>
                  <a:gd name="T64" fmla="*/ 536952 w 527"/>
                  <a:gd name="T65" fmla="*/ 1191251 h 743"/>
                  <a:gd name="T66" fmla="*/ 531618 w 527"/>
                  <a:gd name="T67" fmla="*/ 1281928 h 743"/>
                  <a:gd name="T68" fmla="*/ 506726 w 527"/>
                  <a:gd name="T69" fmla="*/ 1319266 h 743"/>
                  <a:gd name="T70" fmla="*/ 392935 w 527"/>
                  <a:gd name="T71" fmla="*/ 1321044 h 743"/>
                  <a:gd name="T72" fmla="*/ 380489 w 527"/>
                  <a:gd name="T73" fmla="*/ 1253481 h 743"/>
                  <a:gd name="T74" fmla="*/ 252474 w 527"/>
                  <a:gd name="T75" fmla="*/ 1278372 h 743"/>
                  <a:gd name="T76" fmla="*/ 232916 w 527"/>
                  <a:gd name="T77" fmla="*/ 1237479 h 743"/>
                  <a:gd name="T78" fmla="*/ 245362 w 527"/>
                  <a:gd name="T79" fmla="*/ 1166359 h 743"/>
                  <a:gd name="T80" fmla="*/ 215136 w 527"/>
                  <a:gd name="T81" fmla="*/ 1038344 h 743"/>
                  <a:gd name="T82" fmla="*/ 138683 w 527"/>
                  <a:gd name="T83" fmla="*/ 1024120 h 743"/>
                  <a:gd name="T84" fmla="*/ 81787 w 527"/>
                  <a:gd name="T85" fmla="*/ 1050790 h 743"/>
                  <a:gd name="T86" fmla="*/ 49784 w 527"/>
                  <a:gd name="T87" fmla="*/ 1047234 h 743"/>
                  <a:gd name="T88" fmla="*/ 0 w 527"/>
                  <a:gd name="T89" fmla="*/ 986783 h 743"/>
                  <a:gd name="T90" fmla="*/ 133349 w 527"/>
                  <a:gd name="T91" fmla="*/ 853433 h 743"/>
                  <a:gd name="T92" fmla="*/ 104901 w 527"/>
                  <a:gd name="T93" fmla="*/ 794760 h 743"/>
                  <a:gd name="T94" fmla="*/ 74675 w 527"/>
                  <a:gd name="T95" fmla="*/ 780536 h 743"/>
                  <a:gd name="T96" fmla="*/ 71119 w 527"/>
                  <a:gd name="T97" fmla="*/ 711195 h 743"/>
                  <a:gd name="T98" fmla="*/ 140461 w 527"/>
                  <a:gd name="T99" fmla="*/ 661411 h 743"/>
                  <a:gd name="T100" fmla="*/ 131571 w 527"/>
                  <a:gd name="T101" fmla="*/ 600959 h 74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7"/>
                  <a:gd name="T154" fmla="*/ 0 h 743"/>
                  <a:gd name="T155" fmla="*/ 527 w 527"/>
                  <a:gd name="T156" fmla="*/ 743 h 74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7" h="743">
                    <a:moveTo>
                      <a:pt x="74" y="338"/>
                    </a:moveTo>
                    <a:lnTo>
                      <a:pt x="153" y="197"/>
                    </a:lnTo>
                    <a:lnTo>
                      <a:pt x="209" y="164"/>
                    </a:lnTo>
                    <a:lnTo>
                      <a:pt x="193" y="126"/>
                    </a:lnTo>
                    <a:lnTo>
                      <a:pt x="176" y="138"/>
                    </a:lnTo>
                    <a:lnTo>
                      <a:pt x="163" y="126"/>
                    </a:lnTo>
                    <a:lnTo>
                      <a:pt x="229" y="58"/>
                    </a:lnTo>
                    <a:lnTo>
                      <a:pt x="271" y="53"/>
                    </a:lnTo>
                    <a:lnTo>
                      <a:pt x="273" y="77"/>
                    </a:lnTo>
                    <a:lnTo>
                      <a:pt x="295" y="78"/>
                    </a:lnTo>
                    <a:lnTo>
                      <a:pt x="342" y="1"/>
                    </a:lnTo>
                    <a:lnTo>
                      <a:pt x="392" y="0"/>
                    </a:lnTo>
                    <a:lnTo>
                      <a:pt x="400" y="26"/>
                    </a:lnTo>
                    <a:lnTo>
                      <a:pt x="373" y="105"/>
                    </a:lnTo>
                    <a:lnTo>
                      <a:pt x="404" y="118"/>
                    </a:lnTo>
                    <a:lnTo>
                      <a:pt x="432" y="70"/>
                    </a:lnTo>
                    <a:lnTo>
                      <a:pt x="459" y="87"/>
                    </a:lnTo>
                    <a:lnTo>
                      <a:pt x="527" y="148"/>
                    </a:lnTo>
                    <a:lnTo>
                      <a:pt x="518" y="216"/>
                    </a:lnTo>
                    <a:lnTo>
                      <a:pt x="472" y="270"/>
                    </a:lnTo>
                    <a:lnTo>
                      <a:pt x="458" y="324"/>
                    </a:lnTo>
                    <a:lnTo>
                      <a:pt x="503" y="338"/>
                    </a:lnTo>
                    <a:lnTo>
                      <a:pt x="513" y="368"/>
                    </a:lnTo>
                    <a:lnTo>
                      <a:pt x="461" y="428"/>
                    </a:lnTo>
                    <a:lnTo>
                      <a:pt x="435" y="419"/>
                    </a:lnTo>
                    <a:lnTo>
                      <a:pt x="413" y="434"/>
                    </a:lnTo>
                    <a:lnTo>
                      <a:pt x="413" y="488"/>
                    </a:lnTo>
                    <a:lnTo>
                      <a:pt x="382" y="490"/>
                    </a:lnTo>
                    <a:lnTo>
                      <a:pt x="384" y="532"/>
                    </a:lnTo>
                    <a:lnTo>
                      <a:pt x="361" y="536"/>
                    </a:lnTo>
                    <a:lnTo>
                      <a:pt x="352" y="524"/>
                    </a:lnTo>
                    <a:lnTo>
                      <a:pt x="265" y="541"/>
                    </a:lnTo>
                    <a:lnTo>
                      <a:pt x="302" y="670"/>
                    </a:lnTo>
                    <a:lnTo>
                      <a:pt x="299" y="721"/>
                    </a:lnTo>
                    <a:lnTo>
                      <a:pt x="285" y="742"/>
                    </a:lnTo>
                    <a:lnTo>
                      <a:pt x="221" y="743"/>
                    </a:lnTo>
                    <a:lnTo>
                      <a:pt x="214" y="705"/>
                    </a:lnTo>
                    <a:lnTo>
                      <a:pt x="142" y="719"/>
                    </a:lnTo>
                    <a:lnTo>
                      <a:pt x="131" y="696"/>
                    </a:lnTo>
                    <a:lnTo>
                      <a:pt x="138" y="656"/>
                    </a:lnTo>
                    <a:lnTo>
                      <a:pt x="121" y="584"/>
                    </a:lnTo>
                    <a:lnTo>
                      <a:pt x="78" y="576"/>
                    </a:lnTo>
                    <a:lnTo>
                      <a:pt x="46" y="591"/>
                    </a:lnTo>
                    <a:lnTo>
                      <a:pt x="28" y="589"/>
                    </a:lnTo>
                    <a:lnTo>
                      <a:pt x="0" y="555"/>
                    </a:lnTo>
                    <a:lnTo>
                      <a:pt x="75" y="480"/>
                    </a:lnTo>
                    <a:lnTo>
                      <a:pt x="59" y="447"/>
                    </a:lnTo>
                    <a:lnTo>
                      <a:pt x="42" y="439"/>
                    </a:lnTo>
                    <a:lnTo>
                      <a:pt x="40" y="400"/>
                    </a:lnTo>
                    <a:lnTo>
                      <a:pt x="79" y="372"/>
                    </a:lnTo>
                    <a:lnTo>
                      <a:pt x="74" y="338"/>
                    </a:lnTo>
                    <a:close/>
                  </a:path>
                </a:pathLst>
              </a:custGeom>
              <a:solidFill>
                <a:srgbClr val="DCDCDC"/>
              </a:solidFill>
              <a:ln w="9525">
                <a:solidFill>
                  <a:schemeClr val="bg1"/>
                </a:solidFill>
                <a:round/>
                <a:headEnd/>
                <a:tailEnd/>
              </a:ln>
            </p:spPr>
            <p:txBody>
              <a:bodyPr/>
              <a:lstStyle/>
              <a:p>
                <a:endParaRPr lang="de-DE" sz="1350"/>
              </a:p>
            </p:txBody>
          </p:sp>
          <p:sp>
            <p:nvSpPr>
              <p:cNvPr id="26" name="Freeform 18">
                <a:extLst>
                  <a:ext uri="{FF2B5EF4-FFF2-40B4-BE49-F238E27FC236}">
                    <a16:creationId xmlns:a16="http://schemas.microsoft.com/office/drawing/2014/main" id="{188D95DB-4834-4D22-9E50-2D1E70450BC2}"/>
                  </a:ext>
                </a:extLst>
              </p:cNvPr>
              <p:cNvSpPr>
                <a:spLocks/>
              </p:cNvSpPr>
              <p:nvPr/>
            </p:nvSpPr>
            <p:spPr bwMode="gray">
              <a:xfrm>
                <a:off x="2782822" y="3894054"/>
                <a:ext cx="929887" cy="1205475"/>
              </a:xfrm>
              <a:custGeom>
                <a:avLst/>
                <a:gdLst>
                  <a:gd name="T0" fmla="*/ 87121 w 523"/>
                  <a:gd name="T1" fmla="*/ 864101 h 678"/>
                  <a:gd name="T2" fmla="*/ 85343 w 523"/>
                  <a:gd name="T3" fmla="*/ 849878 h 678"/>
                  <a:gd name="T4" fmla="*/ 138683 w 523"/>
                  <a:gd name="T5" fmla="*/ 769868 h 678"/>
                  <a:gd name="T6" fmla="*/ 156463 w 523"/>
                  <a:gd name="T7" fmla="*/ 689859 h 678"/>
                  <a:gd name="T8" fmla="*/ 39116 w 523"/>
                  <a:gd name="T9" fmla="*/ 625851 h 678"/>
                  <a:gd name="T10" fmla="*/ 0 w 523"/>
                  <a:gd name="T11" fmla="*/ 560066 h 678"/>
                  <a:gd name="T12" fmla="*/ 14224 w 523"/>
                  <a:gd name="T13" fmla="*/ 416049 h 678"/>
                  <a:gd name="T14" fmla="*/ 90677 w 523"/>
                  <a:gd name="T15" fmla="*/ 334261 h 678"/>
                  <a:gd name="T16" fmla="*/ 136905 w 523"/>
                  <a:gd name="T17" fmla="*/ 366265 h 678"/>
                  <a:gd name="T18" fmla="*/ 264920 w 523"/>
                  <a:gd name="T19" fmla="*/ 364487 h 678"/>
                  <a:gd name="T20" fmla="*/ 245362 w 523"/>
                  <a:gd name="T21" fmla="*/ 296924 h 678"/>
                  <a:gd name="T22" fmla="*/ 252474 w 523"/>
                  <a:gd name="T23" fmla="*/ 268476 h 678"/>
                  <a:gd name="T24" fmla="*/ 558288 w 523"/>
                  <a:gd name="T25" fmla="*/ 94233 h 678"/>
                  <a:gd name="T26" fmla="*/ 574290 w 523"/>
                  <a:gd name="T27" fmla="*/ 99567 h 678"/>
                  <a:gd name="T28" fmla="*/ 602737 w 523"/>
                  <a:gd name="T29" fmla="*/ 88899 h 678"/>
                  <a:gd name="T30" fmla="*/ 600959 w 523"/>
                  <a:gd name="T31" fmla="*/ 58674 h 678"/>
                  <a:gd name="T32" fmla="*/ 622295 w 523"/>
                  <a:gd name="T33" fmla="*/ 7112 h 678"/>
                  <a:gd name="T34" fmla="*/ 636519 w 523"/>
                  <a:gd name="T35" fmla="*/ 0 h 678"/>
                  <a:gd name="T36" fmla="*/ 776980 w 523"/>
                  <a:gd name="T37" fmla="*/ 145795 h 678"/>
                  <a:gd name="T38" fmla="*/ 785870 w 523"/>
                  <a:gd name="T39" fmla="*/ 206246 h 678"/>
                  <a:gd name="T40" fmla="*/ 716528 w 523"/>
                  <a:gd name="T41" fmla="*/ 256030 h 678"/>
                  <a:gd name="T42" fmla="*/ 720084 w 523"/>
                  <a:gd name="T43" fmla="*/ 325372 h 678"/>
                  <a:gd name="T44" fmla="*/ 750310 w 523"/>
                  <a:gd name="T45" fmla="*/ 339595 h 678"/>
                  <a:gd name="T46" fmla="*/ 778758 w 523"/>
                  <a:gd name="T47" fmla="*/ 398269 h 678"/>
                  <a:gd name="T48" fmla="*/ 645409 w 523"/>
                  <a:gd name="T49" fmla="*/ 531618 h 678"/>
                  <a:gd name="T50" fmla="*/ 695193 w 523"/>
                  <a:gd name="T51" fmla="*/ 592070 h 678"/>
                  <a:gd name="T52" fmla="*/ 727196 w 523"/>
                  <a:gd name="T53" fmla="*/ 595626 h 678"/>
                  <a:gd name="T54" fmla="*/ 784092 w 523"/>
                  <a:gd name="T55" fmla="*/ 568956 h 678"/>
                  <a:gd name="T56" fmla="*/ 860545 w 523"/>
                  <a:gd name="T57" fmla="*/ 583180 h 678"/>
                  <a:gd name="T58" fmla="*/ 890771 w 523"/>
                  <a:gd name="T59" fmla="*/ 711195 h 678"/>
                  <a:gd name="T60" fmla="*/ 878325 w 523"/>
                  <a:gd name="T61" fmla="*/ 782314 h 678"/>
                  <a:gd name="T62" fmla="*/ 897883 w 523"/>
                  <a:gd name="T63" fmla="*/ 823208 h 678"/>
                  <a:gd name="T64" fmla="*/ 903217 w 523"/>
                  <a:gd name="T65" fmla="*/ 881881 h 678"/>
                  <a:gd name="T66" fmla="*/ 929887 w 523"/>
                  <a:gd name="T67" fmla="*/ 940555 h 678"/>
                  <a:gd name="T68" fmla="*/ 915663 w 523"/>
                  <a:gd name="T69" fmla="*/ 999229 h 678"/>
                  <a:gd name="T70" fmla="*/ 926331 w 523"/>
                  <a:gd name="T71" fmla="*/ 1018786 h 678"/>
                  <a:gd name="T72" fmla="*/ 897883 w 523"/>
                  <a:gd name="T73" fmla="*/ 1049012 h 678"/>
                  <a:gd name="T74" fmla="*/ 848099 w 523"/>
                  <a:gd name="T75" fmla="*/ 1205475 h 678"/>
                  <a:gd name="T76" fmla="*/ 753866 w 523"/>
                  <a:gd name="T77" fmla="*/ 1180583 h 678"/>
                  <a:gd name="T78" fmla="*/ 743198 w 523"/>
                  <a:gd name="T79" fmla="*/ 1162803 h 678"/>
                  <a:gd name="T80" fmla="*/ 723640 w 523"/>
                  <a:gd name="T81" fmla="*/ 1152135 h 678"/>
                  <a:gd name="T82" fmla="*/ 693415 w 523"/>
                  <a:gd name="T83" fmla="*/ 1164581 h 678"/>
                  <a:gd name="T84" fmla="*/ 542286 w 523"/>
                  <a:gd name="T85" fmla="*/ 1114798 h 678"/>
                  <a:gd name="T86" fmla="*/ 535174 w 523"/>
                  <a:gd name="T87" fmla="*/ 1086350 h 678"/>
                  <a:gd name="T88" fmla="*/ 490724 w 523"/>
                  <a:gd name="T89" fmla="*/ 1086350 h 678"/>
                  <a:gd name="T90" fmla="*/ 487168 w 523"/>
                  <a:gd name="T91" fmla="*/ 1022342 h 678"/>
                  <a:gd name="T92" fmla="*/ 504948 w 523"/>
                  <a:gd name="T93" fmla="*/ 1013453 h 678"/>
                  <a:gd name="T94" fmla="*/ 503170 w 523"/>
                  <a:gd name="T95" fmla="*/ 970781 h 678"/>
                  <a:gd name="T96" fmla="*/ 449831 w 523"/>
                  <a:gd name="T97" fmla="*/ 938777 h 678"/>
                  <a:gd name="T98" fmla="*/ 449831 w 523"/>
                  <a:gd name="T99" fmla="*/ 926331 h 678"/>
                  <a:gd name="T100" fmla="*/ 467610 w 523"/>
                  <a:gd name="T101" fmla="*/ 906773 h 678"/>
                  <a:gd name="T102" fmla="*/ 455165 w 523"/>
                  <a:gd name="T103" fmla="*/ 849878 h 678"/>
                  <a:gd name="T104" fmla="*/ 359153 w 523"/>
                  <a:gd name="T105" fmla="*/ 808984 h 678"/>
                  <a:gd name="T106" fmla="*/ 325372 w 523"/>
                  <a:gd name="T107" fmla="*/ 808984 h 678"/>
                  <a:gd name="T108" fmla="*/ 192023 w 523"/>
                  <a:gd name="T109" fmla="*/ 874769 h 678"/>
                  <a:gd name="T110" fmla="*/ 87121 w 523"/>
                  <a:gd name="T111" fmla="*/ 864101 h 6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3"/>
                  <a:gd name="T169" fmla="*/ 0 h 678"/>
                  <a:gd name="T170" fmla="*/ 523 w 523"/>
                  <a:gd name="T171" fmla="*/ 678 h 6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3" h="678">
                    <a:moveTo>
                      <a:pt x="49" y="486"/>
                    </a:moveTo>
                    <a:lnTo>
                      <a:pt x="48" y="478"/>
                    </a:lnTo>
                    <a:lnTo>
                      <a:pt x="78" y="433"/>
                    </a:lnTo>
                    <a:lnTo>
                      <a:pt x="88" y="388"/>
                    </a:lnTo>
                    <a:lnTo>
                      <a:pt x="22" y="352"/>
                    </a:lnTo>
                    <a:lnTo>
                      <a:pt x="0" y="315"/>
                    </a:lnTo>
                    <a:lnTo>
                      <a:pt x="8" y="234"/>
                    </a:lnTo>
                    <a:lnTo>
                      <a:pt x="51" y="188"/>
                    </a:lnTo>
                    <a:lnTo>
                      <a:pt x="77" y="206"/>
                    </a:lnTo>
                    <a:lnTo>
                      <a:pt x="149" y="205"/>
                    </a:lnTo>
                    <a:lnTo>
                      <a:pt x="138" y="167"/>
                    </a:lnTo>
                    <a:lnTo>
                      <a:pt x="142" y="151"/>
                    </a:lnTo>
                    <a:lnTo>
                      <a:pt x="314" y="53"/>
                    </a:lnTo>
                    <a:lnTo>
                      <a:pt x="323" y="56"/>
                    </a:lnTo>
                    <a:lnTo>
                      <a:pt x="339" y="50"/>
                    </a:lnTo>
                    <a:lnTo>
                      <a:pt x="338" y="33"/>
                    </a:lnTo>
                    <a:lnTo>
                      <a:pt x="350" y="4"/>
                    </a:lnTo>
                    <a:lnTo>
                      <a:pt x="358" y="0"/>
                    </a:lnTo>
                    <a:lnTo>
                      <a:pt x="437" y="82"/>
                    </a:lnTo>
                    <a:lnTo>
                      <a:pt x="442" y="116"/>
                    </a:lnTo>
                    <a:lnTo>
                      <a:pt x="403" y="144"/>
                    </a:lnTo>
                    <a:lnTo>
                      <a:pt x="405" y="183"/>
                    </a:lnTo>
                    <a:lnTo>
                      <a:pt x="422" y="191"/>
                    </a:lnTo>
                    <a:lnTo>
                      <a:pt x="438" y="224"/>
                    </a:lnTo>
                    <a:lnTo>
                      <a:pt x="363" y="299"/>
                    </a:lnTo>
                    <a:lnTo>
                      <a:pt x="391" y="333"/>
                    </a:lnTo>
                    <a:lnTo>
                      <a:pt x="409" y="335"/>
                    </a:lnTo>
                    <a:lnTo>
                      <a:pt x="441" y="320"/>
                    </a:lnTo>
                    <a:lnTo>
                      <a:pt x="484" y="328"/>
                    </a:lnTo>
                    <a:lnTo>
                      <a:pt x="501" y="400"/>
                    </a:lnTo>
                    <a:lnTo>
                      <a:pt x="494" y="440"/>
                    </a:lnTo>
                    <a:lnTo>
                      <a:pt x="505" y="463"/>
                    </a:lnTo>
                    <a:lnTo>
                      <a:pt x="508" y="496"/>
                    </a:lnTo>
                    <a:lnTo>
                      <a:pt x="523" y="529"/>
                    </a:lnTo>
                    <a:lnTo>
                      <a:pt x="515" y="562"/>
                    </a:lnTo>
                    <a:lnTo>
                      <a:pt x="521" y="573"/>
                    </a:lnTo>
                    <a:lnTo>
                      <a:pt x="505" y="590"/>
                    </a:lnTo>
                    <a:lnTo>
                      <a:pt x="477" y="678"/>
                    </a:lnTo>
                    <a:lnTo>
                      <a:pt x="424" y="664"/>
                    </a:lnTo>
                    <a:lnTo>
                      <a:pt x="418" y="654"/>
                    </a:lnTo>
                    <a:lnTo>
                      <a:pt x="407" y="648"/>
                    </a:lnTo>
                    <a:lnTo>
                      <a:pt x="390" y="655"/>
                    </a:lnTo>
                    <a:lnTo>
                      <a:pt x="305" y="627"/>
                    </a:lnTo>
                    <a:lnTo>
                      <a:pt x="301" y="611"/>
                    </a:lnTo>
                    <a:lnTo>
                      <a:pt x="276" y="611"/>
                    </a:lnTo>
                    <a:lnTo>
                      <a:pt x="274" y="575"/>
                    </a:lnTo>
                    <a:lnTo>
                      <a:pt x="284" y="570"/>
                    </a:lnTo>
                    <a:lnTo>
                      <a:pt x="283" y="546"/>
                    </a:lnTo>
                    <a:lnTo>
                      <a:pt x="253" y="528"/>
                    </a:lnTo>
                    <a:lnTo>
                      <a:pt x="253" y="521"/>
                    </a:lnTo>
                    <a:lnTo>
                      <a:pt x="263" y="510"/>
                    </a:lnTo>
                    <a:lnTo>
                      <a:pt x="256" y="478"/>
                    </a:lnTo>
                    <a:lnTo>
                      <a:pt x="202" y="455"/>
                    </a:lnTo>
                    <a:lnTo>
                      <a:pt x="183" y="455"/>
                    </a:lnTo>
                    <a:lnTo>
                      <a:pt x="108" y="492"/>
                    </a:lnTo>
                    <a:lnTo>
                      <a:pt x="49" y="486"/>
                    </a:lnTo>
                    <a:close/>
                  </a:path>
                </a:pathLst>
              </a:custGeom>
              <a:solidFill>
                <a:srgbClr val="DCDCDC"/>
              </a:solidFill>
              <a:ln w="9525">
                <a:solidFill>
                  <a:schemeClr val="bg1"/>
                </a:solidFill>
                <a:round/>
                <a:headEnd/>
                <a:tailEnd/>
              </a:ln>
            </p:spPr>
            <p:txBody>
              <a:bodyPr/>
              <a:lstStyle/>
              <a:p>
                <a:endParaRPr lang="de-DE" sz="1350"/>
              </a:p>
            </p:txBody>
          </p:sp>
          <p:sp>
            <p:nvSpPr>
              <p:cNvPr id="27" name="Freeform 19">
                <a:extLst>
                  <a:ext uri="{FF2B5EF4-FFF2-40B4-BE49-F238E27FC236}">
                    <a16:creationId xmlns:a16="http://schemas.microsoft.com/office/drawing/2014/main" id="{14C8690C-314E-4ED4-B1F3-FCD828EB5C77}"/>
                  </a:ext>
                </a:extLst>
              </p:cNvPr>
              <p:cNvSpPr>
                <a:spLocks/>
              </p:cNvSpPr>
              <p:nvPr/>
            </p:nvSpPr>
            <p:spPr bwMode="gray">
              <a:xfrm>
                <a:off x="2869944" y="4703038"/>
                <a:ext cx="417827" cy="320038"/>
              </a:xfrm>
              <a:custGeom>
                <a:avLst/>
                <a:gdLst>
                  <a:gd name="T0" fmla="*/ 400047 w 235"/>
                  <a:gd name="T1" fmla="*/ 213359 h 180"/>
                  <a:gd name="T2" fmla="*/ 417827 w 235"/>
                  <a:gd name="T3" fmla="*/ 204469 h 180"/>
                  <a:gd name="T4" fmla="*/ 416049 w 235"/>
                  <a:gd name="T5" fmla="*/ 161797 h 180"/>
                  <a:gd name="T6" fmla="*/ 362709 w 235"/>
                  <a:gd name="T7" fmla="*/ 129793 h 180"/>
                  <a:gd name="T8" fmla="*/ 362709 w 235"/>
                  <a:gd name="T9" fmla="*/ 117347 h 180"/>
                  <a:gd name="T10" fmla="*/ 380489 w 235"/>
                  <a:gd name="T11" fmla="*/ 97789 h 180"/>
                  <a:gd name="T12" fmla="*/ 368043 w 235"/>
                  <a:gd name="T13" fmla="*/ 40894 h 180"/>
                  <a:gd name="T14" fmla="*/ 272032 w 235"/>
                  <a:gd name="T15" fmla="*/ 0 h 180"/>
                  <a:gd name="T16" fmla="*/ 238250 w 235"/>
                  <a:gd name="T17" fmla="*/ 0 h 180"/>
                  <a:gd name="T18" fmla="*/ 104901 w 235"/>
                  <a:gd name="T19" fmla="*/ 65786 h 180"/>
                  <a:gd name="T20" fmla="*/ 0 w 235"/>
                  <a:gd name="T21" fmla="*/ 55118 h 180"/>
                  <a:gd name="T22" fmla="*/ 3556 w 235"/>
                  <a:gd name="T23" fmla="*/ 99567 h 180"/>
                  <a:gd name="T24" fmla="*/ 76453 w 235"/>
                  <a:gd name="T25" fmla="*/ 147573 h 180"/>
                  <a:gd name="T26" fmla="*/ 80009 w 235"/>
                  <a:gd name="T27" fmla="*/ 172465 h 180"/>
                  <a:gd name="T28" fmla="*/ 124459 w 235"/>
                  <a:gd name="T29" fmla="*/ 259586 h 180"/>
                  <a:gd name="T30" fmla="*/ 190245 w 235"/>
                  <a:gd name="T31" fmla="*/ 282700 h 180"/>
                  <a:gd name="T32" fmla="*/ 209802 w 235"/>
                  <a:gd name="T33" fmla="*/ 259586 h 180"/>
                  <a:gd name="T34" fmla="*/ 250696 w 235"/>
                  <a:gd name="T35" fmla="*/ 257808 h 180"/>
                  <a:gd name="T36" fmla="*/ 261364 w 235"/>
                  <a:gd name="T37" fmla="*/ 270254 h 180"/>
                  <a:gd name="T38" fmla="*/ 270254 w 235"/>
                  <a:gd name="T39" fmla="*/ 302258 h 180"/>
                  <a:gd name="T40" fmla="*/ 350264 w 235"/>
                  <a:gd name="T41" fmla="*/ 320038 h 180"/>
                  <a:gd name="T42" fmla="*/ 380489 w 235"/>
                  <a:gd name="T43" fmla="*/ 314704 h 180"/>
                  <a:gd name="T44" fmla="*/ 403603 w 235"/>
                  <a:gd name="T45" fmla="*/ 277366 h 180"/>
                  <a:gd name="T46" fmla="*/ 400047 w 235"/>
                  <a:gd name="T47" fmla="*/ 213359 h 1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5"/>
                  <a:gd name="T73" fmla="*/ 0 h 180"/>
                  <a:gd name="T74" fmla="*/ 235 w 235"/>
                  <a:gd name="T75" fmla="*/ 180 h 1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5" h="180">
                    <a:moveTo>
                      <a:pt x="225" y="120"/>
                    </a:moveTo>
                    <a:lnTo>
                      <a:pt x="235" y="115"/>
                    </a:lnTo>
                    <a:lnTo>
                      <a:pt x="234" y="91"/>
                    </a:lnTo>
                    <a:lnTo>
                      <a:pt x="204" y="73"/>
                    </a:lnTo>
                    <a:lnTo>
                      <a:pt x="204" y="66"/>
                    </a:lnTo>
                    <a:lnTo>
                      <a:pt x="214" y="55"/>
                    </a:lnTo>
                    <a:lnTo>
                      <a:pt x="207" y="23"/>
                    </a:lnTo>
                    <a:lnTo>
                      <a:pt x="153" y="0"/>
                    </a:lnTo>
                    <a:lnTo>
                      <a:pt x="134" y="0"/>
                    </a:lnTo>
                    <a:lnTo>
                      <a:pt x="59" y="37"/>
                    </a:lnTo>
                    <a:lnTo>
                      <a:pt x="0" y="31"/>
                    </a:lnTo>
                    <a:lnTo>
                      <a:pt x="2" y="56"/>
                    </a:lnTo>
                    <a:lnTo>
                      <a:pt x="43" y="83"/>
                    </a:lnTo>
                    <a:lnTo>
                      <a:pt x="45" y="97"/>
                    </a:lnTo>
                    <a:lnTo>
                      <a:pt x="70" y="146"/>
                    </a:lnTo>
                    <a:lnTo>
                      <a:pt x="107" y="159"/>
                    </a:lnTo>
                    <a:lnTo>
                      <a:pt x="118" y="146"/>
                    </a:lnTo>
                    <a:lnTo>
                      <a:pt x="141" y="145"/>
                    </a:lnTo>
                    <a:lnTo>
                      <a:pt x="147" y="152"/>
                    </a:lnTo>
                    <a:lnTo>
                      <a:pt x="152" y="170"/>
                    </a:lnTo>
                    <a:lnTo>
                      <a:pt x="197" y="180"/>
                    </a:lnTo>
                    <a:lnTo>
                      <a:pt x="214" y="177"/>
                    </a:lnTo>
                    <a:lnTo>
                      <a:pt x="227" y="156"/>
                    </a:lnTo>
                    <a:lnTo>
                      <a:pt x="225" y="120"/>
                    </a:lnTo>
                    <a:close/>
                  </a:path>
                </a:pathLst>
              </a:custGeom>
              <a:solidFill>
                <a:srgbClr val="DCDCDC"/>
              </a:solidFill>
              <a:ln w="9525">
                <a:solidFill>
                  <a:schemeClr val="bg1"/>
                </a:solidFill>
                <a:round/>
                <a:headEnd/>
                <a:tailEnd/>
              </a:ln>
            </p:spPr>
            <p:txBody>
              <a:bodyPr/>
              <a:lstStyle/>
              <a:p>
                <a:endParaRPr lang="de-DE" sz="1350"/>
              </a:p>
            </p:txBody>
          </p:sp>
          <p:sp>
            <p:nvSpPr>
              <p:cNvPr id="28" name="Freeform 20">
                <a:extLst>
                  <a:ext uri="{FF2B5EF4-FFF2-40B4-BE49-F238E27FC236}">
                    <a16:creationId xmlns:a16="http://schemas.microsoft.com/office/drawing/2014/main" id="{E0C19D99-DB17-4E09-BA3B-53338F32844C}"/>
                  </a:ext>
                </a:extLst>
              </p:cNvPr>
              <p:cNvSpPr>
                <a:spLocks/>
              </p:cNvSpPr>
              <p:nvPr/>
            </p:nvSpPr>
            <p:spPr bwMode="gray">
              <a:xfrm>
                <a:off x="3355333" y="4576800"/>
                <a:ext cx="1191252" cy="1409944"/>
              </a:xfrm>
              <a:custGeom>
                <a:avLst/>
                <a:gdLst>
                  <a:gd name="T0" fmla="*/ 1191252 w 670"/>
                  <a:gd name="T1" fmla="*/ 680969 h 793"/>
                  <a:gd name="T2" fmla="*/ 1098797 w 670"/>
                  <a:gd name="T3" fmla="*/ 709417 h 793"/>
                  <a:gd name="T4" fmla="*/ 1120133 w 670"/>
                  <a:gd name="T5" fmla="*/ 760979 h 793"/>
                  <a:gd name="T6" fmla="*/ 997451 w 670"/>
                  <a:gd name="T7" fmla="*/ 901440 h 793"/>
                  <a:gd name="T8" fmla="*/ 1054347 w 670"/>
                  <a:gd name="T9" fmla="*/ 1052569 h 793"/>
                  <a:gd name="T10" fmla="*/ 1034789 w 670"/>
                  <a:gd name="T11" fmla="*/ 1114798 h 793"/>
                  <a:gd name="T12" fmla="*/ 1082795 w 670"/>
                  <a:gd name="T13" fmla="*/ 1312155 h 793"/>
                  <a:gd name="T14" fmla="*/ 1070349 w 670"/>
                  <a:gd name="T15" fmla="*/ 1328157 h 793"/>
                  <a:gd name="T16" fmla="*/ 880104 w 670"/>
                  <a:gd name="T17" fmla="*/ 1354826 h 793"/>
                  <a:gd name="T18" fmla="*/ 848100 w 670"/>
                  <a:gd name="T19" fmla="*/ 1393942 h 793"/>
                  <a:gd name="T20" fmla="*/ 686303 w 670"/>
                  <a:gd name="T21" fmla="*/ 1328157 h 793"/>
                  <a:gd name="T22" fmla="*/ 597404 w 670"/>
                  <a:gd name="T23" fmla="*/ 1315711 h 793"/>
                  <a:gd name="T24" fmla="*/ 545842 w 670"/>
                  <a:gd name="T25" fmla="*/ 1340603 h 793"/>
                  <a:gd name="T26" fmla="*/ 487169 w 670"/>
                  <a:gd name="T27" fmla="*/ 1321045 h 793"/>
                  <a:gd name="T28" fmla="*/ 464055 w 670"/>
                  <a:gd name="T29" fmla="*/ 1262371 h 793"/>
                  <a:gd name="T30" fmla="*/ 428495 w 670"/>
                  <a:gd name="T31" fmla="*/ 1253481 h 793"/>
                  <a:gd name="T32" fmla="*/ 353820 w 670"/>
                  <a:gd name="T33" fmla="*/ 1264149 h 793"/>
                  <a:gd name="T34" fmla="*/ 330706 w 670"/>
                  <a:gd name="T35" fmla="*/ 1306821 h 793"/>
                  <a:gd name="T36" fmla="*/ 353820 w 670"/>
                  <a:gd name="T37" fmla="*/ 1340603 h 793"/>
                  <a:gd name="T38" fmla="*/ 401825 w 670"/>
                  <a:gd name="T39" fmla="*/ 1321045 h 793"/>
                  <a:gd name="T40" fmla="*/ 428495 w 670"/>
                  <a:gd name="T41" fmla="*/ 1317489 h 793"/>
                  <a:gd name="T42" fmla="*/ 442719 w 670"/>
                  <a:gd name="T43" fmla="*/ 1365494 h 793"/>
                  <a:gd name="T44" fmla="*/ 426717 w 670"/>
                  <a:gd name="T45" fmla="*/ 1383274 h 793"/>
                  <a:gd name="T46" fmla="*/ 325372 w 670"/>
                  <a:gd name="T47" fmla="*/ 1408166 h 793"/>
                  <a:gd name="T48" fmla="*/ 220470 w 670"/>
                  <a:gd name="T49" fmla="*/ 1390386 h 793"/>
                  <a:gd name="T50" fmla="*/ 65786 w 670"/>
                  <a:gd name="T51" fmla="*/ 1409944 h 793"/>
                  <a:gd name="T52" fmla="*/ 21336 w 670"/>
                  <a:gd name="T53" fmla="*/ 1404610 h 793"/>
                  <a:gd name="T54" fmla="*/ 0 w 670"/>
                  <a:gd name="T55" fmla="*/ 1369050 h 793"/>
                  <a:gd name="T56" fmla="*/ 3556 w 670"/>
                  <a:gd name="T57" fmla="*/ 1214365 h 793"/>
                  <a:gd name="T58" fmla="*/ 21336 w 670"/>
                  <a:gd name="T59" fmla="*/ 1201920 h 793"/>
                  <a:gd name="T60" fmla="*/ 26670 w 670"/>
                  <a:gd name="T61" fmla="*/ 1162804 h 793"/>
                  <a:gd name="T62" fmla="*/ 16002 w 670"/>
                  <a:gd name="T63" fmla="*/ 1088128 h 793"/>
                  <a:gd name="T64" fmla="*/ 161797 w 670"/>
                  <a:gd name="T65" fmla="*/ 682747 h 793"/>
                  <a:gd name="T66" fmla="*/ 202691 w 670"/>
                  <a:gd name="T67" fmla="*/ 652521 h 793"/>
                  <a:gd name="T68" fmla="*/ 213359 w 670"/>
                  <a:gd name="T69" fmla="*/ 609850 h 793"/>
                  <a:gd name="T70" fmla="*/ 275588 w 670"/>
                  <a:gd name="T71" fmla="*/ 522728 h 793"/>
                  <a:gd name="T72" fmla="*/ 325372 w 670"/>
                  <a:gd name="T73" fmla="*/ 366265 h 793"/>
                  <a:gd name="T74" fmla="*/ 353820 w 670"/>
                  <a:gd name="T75" fmla="*/ 336040 h 793"/>
                  <a:gd name="T76" fmla="*/ 343152 w 670"/>
                  <a:gd name="T77" fmla="*/ 316482 h 793"/>
                  <a:gd name="T78" fmla="*/ 357376 w 670"/>
                  <a:gd name="T79" fmla="*/ 257808 h 793"/>
                  <a:gd name="T80" fmla="*/ 330706 w 670"/>
                  <a:gd name="T81" fmla="*/ 199135 h 793"/>
                  <a:gd name="T82" fmla="*/ 323594 w 670"/>
                  <a:gd name="T83" fmla="*/ 140461 h 793"/>
                  <a:gd name="T84" fmla="*/ 453387 w 670"/>
                  <a:gd name="T85" fmla="*/ 115569 h 793"/>
                  <a:gd name="T86" fmla="*/ 465833 w 670"/>
                  <a:gd name="T87" fmla="*/ 183133 h 793"/>
                  <a:gd name="T88" fmla="*/ 579624 w 670"/>
                  <a:gd name="T89" fmla="*/ 181355 h 793"/>
                  <a:gd name="T90" fmla="*/ 604516 w 670"/>
                  <a:gd name="T91" fmla="*/ 144017 h 793"/>
                  <a:gd name="T92" fmla="*/ 636520 w 670"/>
                  <a:gd name="T93" fmla="*/ 144017 h 793"/>
                  <a:gd name="T94" fmla="*/ 723641 w 670"/>
                  <a:gd name="T95" fmla="*/ 81787 h 793"/>
                  <a:gd name="T96" fmla="*/ 691637 w 670"/>
                  <a:gd name="T97" fmla="*/ 23114 h 793"/>
                  <a:gd name="T98" fmla="*/ 810762 w 670"/>
                  <a:gd name="T99" fmla="*/ 0 h 793"/>
                  <a:gd name="T100" fmla="*/ 924554 w 670"/>
                  <a:gd name="T101" fmla="*/ 135127 h 793"/>
                  <a:gd name="T102" fmla="*/ 926332 w 670"/>
                  <a:gd name="T103" fmla="*/ 176021 h 793"/>
                  <a:gd name="T104" fmla="*/ 956558 w 670"/>
                  <a:gd name="T105" fmla="*/ 184911 h 793"/>
                  <a:gd name="T106" fmla="*/ 992117 w 670"/>
                  <a:gd name="T107" fmla="*/ 152907 h 793"/>
                  <a:gd name="T108" fmla="*/ 1015231 w 670"/>
                  <a:gd name="T109" fmla="*/ 192023 h 793"/>
                  <a:gd name="T110" fmla="*/ 1089907 w 670"/>
                  <a:gd name="T111" fmla="*/ 464055 h 793"/>
                  <a:gd name="T112" fmla="*/ 1157470 w 670"/>
                  <a:gd name="T113" fmla="*/ 519172 h 793"/>
                  <a:gd name="T114" fmla="*/ 1191252 w 670"/>
                  <a:gd name="T115" fmla="*/ 680969 h 7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0"/>
                  <a:gd name="T175" fmla="*/ 0 h 793"/>
                  <a:gd name="T176" fmla="*/ 670 w 670"/>
                  <a:gd name="T177" fmla="*/ 793 h 7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0" h="793">
                    <a:moveTo>
                      <a:pt x="670" y="383"/>
                    </a:moveTo>
                    <a:lnTo>
                      <a:pt x="618" y="399"/>
                    </a:lnTo>
                    <a:lnTo>
                      <a:pt x="630" y="428"/>
                    </a:lnTo>
                    <a:lnTo>
                      <a:pt x="561" y="507"/>
                    </a:lnTo>
                    <a:lnTo>
                      <a:pt x="593" y="592"/>
                    </a:lnTo>
                    <a:lnTo>
                      <a:pt x="582" y="627"/>
                    </a:lnTo>
                    <a:lnTo>
                      <a:pt x="609" y="738"/>
                    </a:lnTo>
                    <a:lnTo>
                      <a:pt x="602" y="747"/>
                    </a:lnTo>
                    <a:lnTo>
                      <a:pt x="495" y="762"/>
                    </a:lnTo>
                    <a:lnTo>
                      <a:pt x="477" y="784"/>
                    </a:lnTo>
                    <a:lnTo>
                      <a:pt x="386" y="747"/>
                    </a:lnTo>
                    <a:lnTo>
                      <a:pt x="336" y="740"/>
                    </a:lnTo>
                    <a:lnTo>
                      <a:pt x="307" y="754"/>
                    </a:lnTo>
                    <a:lnTo>
                      <a:pt x="274" y="743"/>
                    </a:lnTo>
                    <a:lnTo>
                      <a:pt x="261" y="710"/>
                    </a:lnTo>
                    <a:lnTo>
                      <a:pt x="241" y="705"/>
                    </a:lnTo>
                    <a:lnTo>
                      <a:pt x="199" y="711"/>
                    </a:lnTo>
                    <a:lnTo>
                      <a:pt x="186" y="735"/>
                    </a:lnTo>
                    <a:lnTo>
                      <a:pt x="199" y="754"/>
                    </a:lnTo>
                    <a:lnTo>
                      <a:pt x="226" y="743"/>
                    </a:lnTo>
                    <a:lnTo>
                      <a:pt x="241" y="741"/>
                    </a:lnTo>
                    <a:lnTo>
                      <a:pt x="249" y="768"/>
                    </a:lnTo>
                    <a:lnTo>
                      <a:pt x="240" y="778"/>
                    </a:lnTo>
                    <a:lnTo>
                      <a:pt x="183" y="792"/>
                    </a:lnTo>
                    <a:lnTo>
                      <a:pt x="124" y="782"/>
                    </a:lnTo>
                    <a:lnTo>
                      <a:pt x="37" y="793"/>
                    </a:lnTo>
                    <a:lnTo>
                      <a:pt x="12" y="790"/>
                    </a:lnTo>
                    <a:lnTo>
                      <a:pt x="0" y="770"/>
                    </a:lnTo>
                    <a:lnTo>
                      <a:pt x="2" y="683"/>
                    </a:lnTo>
                    <a:lnTo>
                      <a:pt x="12" y="676"/>
                    </a:lnTo>
                    <a:lnTo>
                      <a:pt x="15" y="654"/>
                    </a:lnTo>
                    <a:lnTo>
                      <a:pt x="9" y="612"/>
                    </a:lnTo>
                    <a:lnTo>
                      <a:pt x="91" y="384"/>
                    </a:lnTo>
                    <a:lnTo>
                      <a:pt x="114" y="367"/>
                    </a:lnTo>
                    <a:lnTo>
                      <a:pt x="120" y="343"/>
                    </a:lnTo>
                    <a:lnTo>
                      <a:pt x="155" y="294"/>
                    </a:lnTo>
                    <a:lnTo>
                      <a:pt x="183" y="206"/>
                    </a:lnTo>
                    <a:lnTo>
                      <a:pt x="199" y="189"/>
                    </a:lnTo>
                    <a:lnTo>
                      <a:pt x="193" y="178"/>
                    </a:lnTo>
                    <a:lnTo>
                      <a:pt x="201" y="145"/>
                    </a:lnTo>
                    <a:lnTo>
                      <a:pt x="186" y="112"/>
                    </a:lnTo>
                    <a:lnTo>
                      <a:pt x="182" y="79"/>
                    </a:lnTo>
                    <a:lnTo>
                      <a:pt x="255" y="65"/>
                    </a:lnTo>
                    <a:lnTo>
                      <a:pt x="262" y="103"/>
                    </a:lnTo>
                    <a:lnTo>
                      <a:pt x="326" y="102"/>
                    </a:lnTo>
                    <a:lnTo>
                      <a:pt x="340" y="81"/>
                    </a:lnTo>
                    <a:lnTo>
                      <a:pt x="358" y="81"/>
                    </a:lnTo>
                    <a:lnTo>
                      <a:pt x="407" y="46"/>
                    </a:lnTo>
                    <a:lnTo>
                      <a:pt x="389" y="13"/>
                    </a:lnTo>
                    <a:lnTo>
                      <a:pt x="456" y="0"/>
                    </a:lnTo>
                    <a:lnTo>
                      <a:pt x="520" y="76"/>
                    </a:lnTo>
                    <a:lnTo>
                      <a:pt x="521" y="99"/>
                    </a:lnTo>
                    <a:lnTo>
                      <a:pt x="538" y="104"/>
                    </a:lnTo>
                    <a:lnTo>
                      <a:pt x="558" y="86"/>
                    </a:lnTo>
                    <a:lnTo>
                      <a:pt x="571" y="108"/>
                    </a:lnTo>
                    <a:lnTo>
                      <a:pt x="613" y="261"/>
                    </a:lnTo>
                    <a:lnTo>
                      <a:pt x="651" y="292"/>
                    </a:lnTo>
                    <a:lnTo>
                      <a:pt x="670" y="383"/>
                    </a:lnTo>
                    <a:close/>
                  </a:path>
                </a:pathLst>
              </a:custGeom>
              <a:solidFill>
                <a:srgbClr val="DCDCDC"/>
              </a:solidFill>
              <a:ln w="9525">
                <a:solidFill>
                  <a:schemeClr val="bg1"/>
                </a:solidFill>
                <a:round/>
                <a:headEnd/>
                <a:tailEnd/>
              </a:ln>
            </p:spPr>
            <p:txBody>
              <a:bodyPr/>
              <a:lstStyle/>
              <a:p>
                <a:endParaRPr lang="de-DE" sz="1350"/>
              </a:p>
            </p:txBody>
          </p:sp>
          <p:sp>
            <p:nvSpPr>
              <p:cNvPr id="29" name="Freeform 21">
                <a:extLst>
                  <a:ext uri="{FF2B5EF4-FFF2-40B4-BE49-F238E27FC236}">
                    <a16:creationId xmlns:a16="http://schemas.microsoft.com/office/drawing/2014/main" id="{B7C22D63-4F5D-418E-B162-4584BFFB9BB7}"/>
                  </a:ext>
                </a:extLst>
              </p:cNvPr>
              <p:cNvSpPr>
                <a:spLocks/>
              </p:cNvSpPr>
              <p:nvPr/>
            </p:nvSpPr>
            <p:spPr bwMode="gray">
              <a:xfrm>
                <a:off x="3899399" y="4082521"/>
                <a:ext cx="1989568" cy="2028683"/>
              </a:xfrm>
              <a:custGeom>
                <a:avLst/>
                <a:gdLst>
                  <a:gd name="T0" fmla="*/ 471167 w 1119"/>
                  <a:gd name="T1" fmla="*/ 686303 h 1141"/>
                  <a:gd name="T2" fmla="*/ 412493 w 1119"/>
                  <a:gd name="T3" fmla="*/ 679191 h 1141"/>
                  <a:gd name="T4" fmla="*/ 380489 w 1119"/>
                  <a:gd name="T5" fmla="*/ 629407 h 1141"/>
                  <a:gd name="T6" fmla="*/ 147573 w 1119"/>
                  <a:gd name="T7" fmla="*/ 517394 h 1141"/>
                  <a:gd name="T8" fmla="*/ 92455 w 1119"/>
                  <a:gd name="T9" fmla="*/ 638297 h 1141"/>
                  <a:gd name="T10" fmla="*/ 65786 w 1119"/>
                  <a:gd name="T11" fmla="*/ 547620 h 1141"/>
                  <a:gd name="T12" fmla="*/ 154685 w 1119"/>
                  <a:gd name="T13" fmla="*/ 288034 h 1141"/>
                  <a:gd name="T14" fmla="*/ 211580 w 1119"/>
                  <a:gd name="T15" fmla="*/ 302258 h 1141"/>
                  <a:gd name="T16" fmla="*/ 263142 w 1119"/>
                  <a:gd name="T17" fmla="*/ 224026 h 1141"/>
                  <a:gd name="T18" fmla="*/ 302258 w 1119"/>
                  <a:gd name="T19" fmla="*/ 101345 h 1141"/>
                  <a:gd name="T20" fmla="*/ 440941 w 1119"/>
                  <a:gd name="T21" fmla="*/ 10668 h 1141"/>
                  <a:gd name="T22" fmla="*/ 641853 w 1119"/>
                  <a:gd name="T23" fmla="*/ 188467 h 1141"/>
                  <a:gd name="T24" fmla="*/ 732531 w 1119"/>
                  <a:gd name="T25" fmla="*/ 174243 h 1141"/>
                  <a:gd name="T26" fmla="*/ 682747 w 1119"/>
                  <a:gd name="T27" fmla="*/ 124459 h 1141"/>
                  <a:gd name="T28" fmla="*/ 855212 w 1119"/>
                  <a:gd name="T29" fmla="*/ 167131 h 1141"/>
                  <a:gd name="T30" fmla="*/ 897884 w 1119"/>
                  <a:gd name="T31" fmla="*/ 110235 h 1141"/>
                  <a:gd name="T32" fmla="*/ 933443 w 1119"/>
                  <a:gd name="T33" fmla="*/ 0 h 1141"/>
                  <a:gd name="T34" fmla="*/ 1141468 w 1119"/>
                  <a:gd name="T35" fmla="*/ 48006 h 1141"/>
                  <a:gd name="T36" fmla="*/ 1271261 w 1119"/>
                  <a:gd name="T37" fmla="*/ 247140 h 1141"/>
                  <a:gd name="T38" fmla="*/ 1388608 w 1119"/>
                  <a:gd name="T39" fmla="*/ 444497 h 1141"/>
                  <a:gd name="T40" fmla="*/ 1537959 w 1119"/>
                  <a:gd name="T41" fmla="*/ 698749 h 1141"/>
                  <a:gd name="T42" fmla="*/ 1792211 w 1119"/>
                  <a:gd name="T43" fmla="*/ 858767 h 1141"/>
                  <a:gd name="T44" fmla="*/ 1838439 w 1119"/>
                  <a:gd name="T45" fmla="*/ 926331 h 1141"/>
                  <a:gd name="T46" fmla="*/ 1989568 w 1119"/>
                  <a:gd name="T47" fmla="*/ 1024120 h 1141"/>
                  <a:gd name="T48" fmla="*/ 1938006 w 1119"/>
                  <a:gd name="T49" fmla="*/ 1187695 h 1141"/>
                  <a:gd name="T50" fmla="*/ 1834883 w 1119"/>
                  <a:gd name="T51" fmla="*/ 1290818 h 1141"/>
                  <a:gd name="T52" fmla="*/ 1600188 w 1119"/>
                  <a:gd name="T53" fmla="*/ 1479285 h 1141"/>
                  <a:gd name="T54" fmla="*/ 1662418 w 1119"/>
                  <a:gd name="T55" fmla="*/ 1697977 h 1141"/>
                  <a:gd name="T56" fmla="*/ 1742427 w 1119"/>
                  <a:gd name="T57" fmla="*/ 1776209 h 1141"/>
                  <a:gd name="T58" fmla="*/ 1614412 w 1119"/>
                  <a:gd name="T59" fmla="*/ 1777987 h 1141"/>
                  <a:gd name="T60" fmla="*/ 1584187 w 1119"/>
                  <a:gd name="T61" fmla="*/ 1733537 h 1141"/>
                  <a:gd name="T62" fmla="*/ 1489953 w 1119"/>
                  <a:gd name="T63" fmla="*/ 1772653 h 1141"/>
                  <a:gd name="T64" fmla="*/ 1356604 w 1119"/>
                  <a:gd name="T65" fmla="*/ 1738871 h 1141"/>
                  <a:gd name="T66" fmla="*/ 1329934 w 1119"/>
                  <a:gd name="T67" fmla="*/ 1804656 h 1141"/>
                  <a:gd name="T68" fmla="*/ 1111242 w 1119"/>
                  <a:gd name="T69" fmla="*/ 1879332 h 1141"/>
                  <a:gd name="T70" fmla="*/ 816096 w 1119"/>
                  <a:gd name="T71" fmla="*/ 1886444 h 1141"/>
                  <a:gd name="T72" fmla="*/ 668523 w 1119"/>
                  <a:gd name="T73" fmla="*/ 1923782 h 1141"/>
                  <a:gd name="T74" fmla="*/ 547620 w 1119"/>
                  <a:gd name="T75" fmla="*/ 2014459 h 1141"/>
                  <a:gd name="T76" fmla="*/ 304036 w 1119"/>
                  <a:gd name="T77" fmla="*/ 1888222 h 1141"/>
                  <a:gd name="T78" fmla="*/ 526284 w 1119"/>
                  <a:gd name="T79" fmla="*/ 1822437 h 1141"/>
                  <a:gd name="T80" fmla="*/ 490725 w 1119"/>
                  <a:gd name="T81" fmla="*/ 1609078 h 1141"/>
                  <a:gd name="T82" fmla="*/ 453387 w 1119"/>
                  <a:gd name="T83" fmla="*/ 1395720 h 1141"/>
                  <a:gd name="T84" fmla="*/ 554732 w 1119"/>
                  <a:gd name="T85" fmla="*/ 1203697 h 1141"/>
                  <a:gd name="T86" fmla="*/ 613406 w 1119"/>
                  <a:gd name="T87" fmla="*/ 1013453 h 114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19"/>
                  <a:gd name="T133" fmla="*/ 0 h 1141"/>
                  <a:gd name="T134" fmla="*/ 1119 w 1119"/>
                  <a:gd name="T135" fmla="*/ 1141 h 114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19" h="1141">
                    <a:moveTo>
                      <a:pt x="307" y="539"/>
                    </a:moveTo>
                    <a:lnTo>
                      <a:pt x="265" y="386"/>
                    </a:lnTo>
                    <a:lnTo>
                      <a:pt x="252" y="364"/>
                    </a:lnTo>
                    <a:lnTo>
                      <a:pt x="232" y="382"/>
                    </a:lnTo>
                    <a:lnTo>
                      <a:pt x="215" y="377"/>
                    </a:lnTo>
                    <a:lnTo>
                      <a:pt x="214" y="354"/>
                    </a:lnTo>
                    <a:lnTo>
                      <a:pt x="150" y="278"/>
                    </a:lnTo>
                    <a:lnTo>
                      <a:pt x="83" y="291"/>
                    </a:lnTo>
                    <a:lnTo>
                      <a:pt x="101" y="324"/>
                    </a:lnTo>
                    <a:lnTo>
                      <a:pt x="52" y="359"/>
                    </a:lnTo>
                    <a:lnTo>
                      <a:pt x="34" y="359"/>
                    </a:lnTo>
                    <a:lnTo>
                      <a:pt x="37" y="308"/>
                    </a:lnTo>
                    <a:lnTo>
                      <a:pt x="0" y="179"/>
                    </a:lnTo>
                    <a:lnTo>
                      <a:pt x="87" y="162"/>
                    </a:lnTo>
                    <a:lnTo>
                      <a:pt x="96" y="174"/>
                    </a:lnTo>
                    <a:lnTo>
                      <a:pt x="119" y="170"/>
                    </a:lnTo>
                    <a:lnTo>
                      <a:pt x="117" y="128"/>
                    </a:lnTo>
                    <a:lnTo>
                      <a:pt x="148" y="126"/>
                    </a:lnTo>
                    <a:lnTo>
                      <a:pt x="148" y="72"/>
                    </a:lnTo>
                    <a:lnTo>
                      <a:pt x="170" y="57"/>
                    </a:lnTo>
                    <a:lnTo>
                      <a:pt x="196" y="66"/>
                    </a:lnTo>
                    <a:lnTo>
                      <a:pt x="248" y="6"/>
                    </a:lnTo>
                    <a:lnTo>
                      <a:pt x="346" y="70"/>
                    </a:lnTo>
                    <a:lnTo>
                      <a:pt x="361" y="106"/>
                    </a:lnTo>
                    <a:lnTo>
                      <a:pt x="385" y="121"/>
                    </a:lnTo>
                    <a:lnTo>
                      <a:pt x="412" y="98"/>
                    </a:lnTo>
                    <a:lnTo>
                      <a:pt x="385" y="80"/>
                    </a:lnTo>
                    <a:lnTo>
                      <a:pt x="384" y="70"/>
                    </a:lnTo>
                    <a:lnTo>
                      <a:pt x="465" y="60"/>
                    </a:lnTo>
                    <a:lnTo>
                      <a:pt x="481" y="94"/>
                    </a:lnTo>
                    <a:lnTo>
                      <a:pt x="505" y="89"/>
                    </a:lnTo>
                    <a:lnTo>
                      <a:pt x="505" y="62"/>
                    </a:lnTo>
                    <a:lnTo>
                      <a:pt x="493" y="33"/>
                    </a:lnTo>
                    <a:lnTo>
                      <a:pt x="525" y="0"/>
                    </a:lnTo>
                    <a:lnTo>
                      <a:pt x="553" y="54"/>
                    </a:lnTo>
                    <a:lnTo>
                      <a:pt x="642" y="27"/>
                    </a:lnTo>
                    <a:lnTo>
                      <a:pt x="695" y="61"/>
                    </a:lnTo>
                    <a:lnTo>
                      <a:pt x="715" y="139"/>
                    </a:lnTo>
                    <a:lnTo>
                      <a:pt x="792" y="201"/>
                    </a:lnTo>
                    <a:lnTo>
                      <a:pt x="781" y="250"/>
                    </a:lnTo>
                    <a:lnTo>
                      <a:pt x="766" y="255"/>
                    </a:lnTo>
                    <a:lnTo>
                      <a:pt x="865" y="393"/>
                    </a:lnTo>
                    <a:lnTo>
                      <a:pt x="891" y="390"/>
                    </a:lnTo>
                    <a:lnTo>
                      <a:pt x="1008" y="483"/>
                    </a:lnTo>
                    <a:lnTo>
                      <a:pt x="1010" y="508"/>
                    </a:lnTo>
                    <a:lnTo>
                      <a:pt x="1034" y="521"/>
                    </a:lnTo>
                    <a:lnTo>
                      <a:pt x="1050" y="513"/>
                    </a:lnTo>
                    <a:lnTo>
                      <a:pt x="1119" y="576"/>
                    </a:lnTo>
                    <a:lnTo>
                      <a:pt x="1116" y="640"/>
                    </a:lnTo>
                    <a:lnTo>
                      <a:pt x="1090" y="668"/>
                    </a:lnTo>
                    <a:lnTo>
                      <a:pt x="1045" y="650"/>
                    </a:lnTo>
                    <a:lnTo>
                      <a:pt x="1032" y="726"/>
                    </a:lnTo>
                    <a:lnTo>
                      <a:pt x="903" y="815"/>
                    </a:lnTo>
                    <a:lnTo>
                      <a:pt x="900" y="832"/>
                    </a:lnTo>
                    <a:lnTo>
                      <a:pt x="958" y="900"/>
                    </a:lnTo>
                    <a:lnTo>
                      <a:pt x="935" y="955"/>
                    </a:lnTo>
                    <a:lnTo>
                      <a:pt x="964" y="953"/>
                    </a:lnTo>
                    <a:lnTo>
                      <a:pt x="980" y="999"/>
                    </a:lnTo>
                    <a:lnTo>
                      <a:pt x="960" y="1047"/>
                    </a:lnTo>
                    <a:lnTo>
                      <a:pt x="908" y="1000"/>
                    </a:lnTo>
                    <a:lnTo>
                      <a:pt x="914" y="989"/>
                    </a:lnTo>
                    <a:lnTo>
                      <a:pt x="891" y="975"/>
                    </a:lnTo>
                    <a:lnTo>
                      <a:pt x="857" y="994"/>
                    </a:lnTo>
                    <a:lnTo>
                      <a:pt x="838" y="997"/>
                    </a:lnTo>
                    <a:lnTo>
                      <a:pt x="825" y="980"/>
                    </a:lnTo>
                    <a:lnTo>
                      <a:pt x="763" y="978"/>
                    </a:lnTo>
                    <a:lnTo>
                      <a:pt x="772" y="1011"/>
                    </a:lnTo>
                    <a:lnTo>
                      <a:pt x="748" y="1015"/>
                    </a:lnTo>
                    <a:lnTo>
                      <a:pt x="641" y="1026"/>
                    </a:lnTo>
                    <a:lnTo>
                      <a:pt x="625" y="1057"/>
                    </a:lnTo>
                    <a:lnTo>
                      <a:pt x="494" y="1098"/>
                    </a:lnTo>
                    <a:lnTo>
                      <a:pt x="459" y="1061"/>
                    </a:lnTo>
                    <a:lnTo>
                      <a:pt x="367" y="1043"/>
                    </a:lnTo>
                    <a:lnTo>
                      <a:pt x="376" y="1082"/>
                    </a:lnTo>
                    <a:lnTo>
                      <a:pt x="343" y="1141"/>
                    </a:lnTo>
                    <a:lnTo>
                      <a:pt x="308" y="1133"/>
                    </a:lnTo>
                    <a:lnTo>
                      <a:pt x="233" y="1062"/>
                    </a:lnTo>
                    <a:lnTo>
                      <a:pt x="171" y="1062"/>
                    </a:lnTo>
                    <a:lnTo>
                      <a:pt x="189" y="1040"/>
                    </a:lnTo>
                    <a:lnTo>
                      <a:pt x="296" y="1025"/>
                    </a:lnTo>
                    <a:lnTo>
                      <a:pt x="303" y="1016"/>
                    </a:lnTo>
                    <a:lnTo>
                      <a:pt x="276" y="905"/>
                    </a:lnTo>
                    <a:lnTo>
                      <a:pt x="287" y="870"/>
                    </a:lnTo>
                    <a:lnTo>
                      <a:pt x="255" y="785"/>
                    </a:lnTo>
                    <a:lnTo>
                      <a:pt x="324" y="706"/>
                    </a:lnTo>
                    <a:lnTo>
                      <a:pt x="312" y="677"/>
                    </a:lnTo>
                    <a:lnTo>
                      <a:pt x="364" y="661"/>
                    </a:lnTo>
                    <a:lnTo>
                      <a:pt x="345" y="570"/>
                    </a:lnTo>
                    <a:lnTo>
                      <a:pt x="307" y="539"/>
                    </a:lnTo>
                    <a:close/>
                  </a:path>
                </a:pathLst>
              </a:custGeom>
              <a:solidFill>
                <a:srgbClr val="DCDCDC"/>
              </a:solidFill>
              <a:ln w="9525">
                <a:solidFill>
                  <a:schemeClr val="bg1"/>
                </a:solidFill>
                <a:round/>
                <a:headEnd/>
                <a:tailEnd/>
              </a:ln>
            </p:spPr>
            <p:txBody>
              <a:bodyPr/>
              <a:lstStyle/>
              <a:p>
                <a:endParaRPr lang="de-DE" sz="1350"/>
              </a:p>
            </p:txBody>
          </p:sp>
          <p:sp>
            <p:nvSpPr>
              <p:cNvPr id="30" name="Freeform 22">
                <a:extLst>
                  <a:ext uri="{FF2B5EF4-FFF2-40B4-BE49-F238E27FC236}">
                    <a16:creationId xmlns:a16="http://schemas.microsoft.com/office/drawing/2014/main" id="{6BB2051B-5B2E-4713-B330-C0E8488C8BC0}"/>
                  </a:ext>
                </a:extLst>
              </p:cNvPr>
              <p:cNvSpPr>
                <a:spLocks/>
              </p:cNvSpPr>
              <p:nvPr/>
            </p:nvSpPr>
            <p:spPr bwMode="gray">
              <a:xfrm>
                <a:off x="4242550" y="3399774"/>
                <a:ext cx="1056125" cy="897883"/>
              </a:xfrm>
              <a:custGeom>
                <a:avLst/>
                <a:gdLst>
                  <a:gd name="T0" fmla="*/ 910330 w 594"/>
                  <a:gd name="T1" fmla="*/ 309370 h 505"/>
                  <a:gd name="T2" fmla="*/ 917442 w 594"/>
                  <a:gd name="T3" fmla="*/ 369821 h 505"/>
                  <a:gd name="T4" fmla="*/ 903218 w 594"/>
                  <a:gd name="T5" fmla="*/ 401825 h 505"/>
                  <a:gd name="T6" fmla="*/ 803651 w 594"/>
                  <a:gd name="T7" fmla="*/ 384045 h 505"/>
                  <a:gd name="T8" fmla="*/ 792983 w 594"/>
                  <a:gd name="T9" fmla="*/ 359153 h 505"/>
                  <a:gd name="T10" fmla="*/ 595626 w 594"/>
                  <a:gd name="T11" fmla="*/ 316482 h 505"/>
                  <a:gd name="T12" fmla="*/ 558288 w 594"/>
                  <a:gd name="T13" fmla="*/ 241806 h 505"/>
                  <a:gd name="T14" fmla="*/ 592070 w 594"/>
                  <a:gd name="T15" fmla="*/ 202690 h 505"/>
                  <a:gd name="T16" fmla="*/ 558288 w 594"/>
                  <a:gd name="T17" fmla="*/ 158241 h 505"/>
                  <a:gd name="T18" fmla="*/ 394713 w 594"/>
                  <a:gd name="T19" fmla="*/ 117347 h 505"/>
                  <a:gd name="T20" fmla="*/ 371599 w 594"/>
                  <a:gd name="T21" fmla="*/ 23114 h 505"/>
                  <a:gd name="T22" fmla="*/ 289812 w 594"/>
                  <a:gd name="T23" fmla="*/ 0 h 505"/>
                  <a:gd name="T24" fmla="*/ 241806 w 594"/>
                  <a:gd name="T25" fmla="*/ 60452 h 505"/>
                  <a:gd name="T26" fmla="*/ 170687 w 594"/>
                  <a:gd name="T27" fmla="*/ 51562 h 505"/>
                  <a:gd name="T28" fmla="*/ 1778 w 594"/>
                  <a:gd name="T29" fmla="*/ 193800 h 505"/>
                  <a:gd name="T30" fmla="*/ 122681 w 594"/>
                  <a:gd name="T31" fmla="*/ 302258 h 505"/>
                  <a:gd name="T32" fmla="*/ 106679 w 594"/>
                  <a:gd name="T33" fmla="*/ 423161 h 505"/>
                  <a:gd name="T34" fmla="*/ 24892 w 594"/>
                  <a:gd name="T35" fmla="*/ 519172 h 505"/>
                  <a:gd name="T36" fmla="*/ 0 w 594"/>
                  <a:gd name="T37" fmla="*/ 615183 h 505"/>
                  <a:gd name="T38" fmla="*/ 80009 w 594"/>
                  <a:gd name="T39" fmla="*/ 640075 h 505"/>
                  <a:gd name="T40" fmla="*/ 97789 w 594"/>
                  <a:gd name="T41" fmla="*/ 695193 h 505"/>
                  <a:gd name="T42" fmla="*/ 272032 w 594"/>
                  <a:gd name="T43" fmla="*/ 807206 h 505"/>
                  <a:gd name="T44" fmla="*/ 298702 w 594"/>
                  <a:gd name="T45" fmla="*/ 871213 h 505"/>
                  <a:gd name="T46" fmla="*/ 341374 w 594"/>
                  <a:gd name="T47" fmla="*/ 897883 h 505"/>
                  <a:gd name="T48" fmla="*/ 389379 w 594"/>
                  <a:gd name="T49" fmla="*/ 856989 h 505"/>
                  <a:gd name="T50" fmla="*/ 341374 w 594"/>
                  <a:gd name="T51" fmla="*/ 824986 h 505"/>
                  <a:gd name="T52" fmla="*/ 339596 w 594"/>
                  <a:gd name="T53" fmla="*/ 807206 h 505"/>
                  <a:gd name="T54" fmla="*/ 483613 w 594"/>
                  <a:gd name="T55" fmla="*/ 789426 h 505"/>
                  <a:gd name="T56" fmla="*/ 512061 w 594"/>
                  <a:gd name="T57" fmla="*/ 849877 h 505"/>
                  <a:gd name="T58" fmla="*/ 554732 w 594"/>
                  <a:gd name="T59" fmla="*/ 840987 h 505"/>
                  <a:gd name="T60" fmla="*/ 554732 w 594"/>
                  <a:gd name="T61" fmla="*/ 792982 h 505"/>
                  <a:gd name="T62" fmla="*/ 533396 w 594"/>
                  <a:gd name="T63" fmla="*/ 741420 h 505"/>
                  <a:gd name="T64" fmla="*/ 590292 w 594"/>
                  <a:gd name="T65" fmla="*/ 682747 h 505"/>
                  <a:gd name="T66" fmla="*/ 640076 w 594"/>
                  <a:gd name="T67" fmla="*/ 778758 h 505"/>
                  <a:gd name="T68" fmla="*/ 798317 w 594"/>
                  <a:gd name="T69" fmla="*/ 730752 h 505"/>
                  <a:gd name="T70" fmla="*/ 814318 w 594"/>
                  <a:gd name="T71" fmla="*/ 650743 h 505"/>
                  <a:gd name="T72" fmla="*/ 832098 w 594"/>
                  <a:gd name="T73" fmla="*/ 636519 h 505"/>
                  <a:gd name="T74" fmla="*/ 888994 w 594"/>
                  <a:gd name="T75" fmla="*/ 636519 h 505"/>
                  <a:gd name="T76" fmla="*/ 938778 w 594"/>
                  <a:gd name="T77" fmla="*/ 560066 h 505"/>
                  <a:gd name="T78" fmla="*/ 910330 w 594"/>
                  <a:gd name="T79" fmla="*/ 487168 h 505"/>
                  <a:gd name="T80" fmla="*/ 1056125 w 594"/>
                  <a:gd name="T81" fmla="*/ 398269 h 505"/>
                  <a:gd name="T82" fmla="*/ 1045457 w 594"/>
                  <a:gd name="T83" fmla="*/ 364487 h 505"/>
                  <a:gd name="T84" fmla="*/ 910330 w 594"/>
                  <a:gd name="T85" fmla="*/ 309370 h 5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4"/>
                  <a:gd name="T130" fmla="*/ 0 h 505"/>
                  <a:gd name="T131" fmla="*/ 594 w 594"/>
                  <a:gd name="T132" fmla="*/ 505 h 5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4" h="505">
                    <a:moveTo>
                      <a:pt x="512" y="174"/>
                    </a:moveTo>
                    <a:lnTo>
                      <a:pt x="516" y="208"/>
                    </a:lnTo>
                    <a:lnTo>
                      <a:pt x="508" y="226"/>
                    </a:lnTo>
                    <a:lnTo>
                      <a:pt x="452" y="216"/>
                    </a:lnTo>
                    <a:lnTo>
                      <a:pt x="446" y="202"/>
                    </a:lnTo>
                    <a:lnTo>
                      <a:pt x="335" y="178"/>
                    </a:lnTo>
                    <a:lnTo>
                      <a:pt x="314" y="136"/>
                    </a:lnTo>
                    <a:lnTo>
                      <a:pt x="333" y="114"/>
                    </a:lnTo>
                    <a:lnTo>
                      <a:pt x="314" y="89"/>
                    </a:lnTo>
                    <a:lnTo>
                      <a:pt x="222" y="66"/>
                    </a:lnTo>
                    <a:lnTo>
                      <a:pt x="209" y="13"/>
                    </a:lnTo>
                    <a:lnTo>
                      <a:pt x="163" y="0"/>
                    </a:lnTo>
                    <a:lnTo>
                      <a:pt x="136" y="34"/>
                    </a:lnTo>
                    <a:lnTo>
                      <a:pt x="96" y="29"/>
                    </a:lnTo>
                    <a:lnTo>
                      <a:pt x="1" y="109"/>
                    </a:lnTo>
                    <a:lnTo>
                      <a:pt x="69" y="170"/>
                    </a:lnTo>
                    <a:lnTo>
                      <a:pt x="60" y="238"/>
                    </a:lnTo>
                    <a:lnTo>
                      <a:pt x="14" y="292"/>
                    </a:lnTo>
                    <a:lnTo>
                      <a:pt x="0" y="346"/>
                    </a:lnTo>
                    <a:lnTo>
                      <a:pt x="45" y="360"/>
                    </a:lnTo>
                    <a:lnTo>
                      <a:pt x="55" y="391"/>
                    </a:lnTo>
                    <a:lnTo>
                      <a:pt x="153" y="454"/>
                    </a:lnTo>
                    <a:lnTo>
                      <a:pt x="168" y="490"/>
                    </a:lnTo>
                    <a:lnTo>
                      <a:pt x="192" y="505"/>
                    </a:lnTo>
                    <a:lnTo>
                      <a:pt x="219" y="482"/>
                    </a:lnTo>
                    <a:lnTo>
                      <a:pt x="192" y="464"/>
                    </a:lnTo>
                    <a:lnTo>
                      <a:pt x="191" y="454"/>
                    </a:lnTo>
                    <a:lnTo>
                      <a:pt x="272" y="444"/>
                    </a:lnTo>
                    <a:lnTo>
                      <a:pt x="288" y="478"/>
                    </a:lnTo>
                    <a:lnTo>
                      <a:pt x="312" y="473"/>
                    </a:lnTo>
                    <a:lnTo>
                      <a:pt x="312" y="446"/>
                    </a:lnTo>
                    <a:lnTo>
                      <a:pt x="300" y="417"/>
                    </a:lnTo>
                    <a:lnTo>
                      <a:pt x="332" y="384"/>
                    </a:lnTo>
                    <a:lnTo>
                      <a:pt x="360" y="438"/>
                    </a:lnTo>
                    <a:lnTo>
                      <a:pt x="449" y="411"/>
                    </a:lnTo>
                    <a:lnTo>
                      <a:pt x="458" y="366"/>
                    </a:lnTo>
                    <a:lnTo>
                      <a:pt x="468" y="358"/>
                    </a:lnTo>
                    <a:lnTo>
                      <a:pt x="500" y="358"/>
                    </a:lnTo>
                    <a:lnTo>
                      <a:pt x="528" y="315"/>
                    </a:lnTo>
                    <a:lnTo>
                      <a:pt x="512" y="274"/>
                    </a:lnTo>
                    <a:lnTo>
                      <a:pt x="594" y="224"/>
                    </a:lnTo>
                    <a:lnTo>
                      <a:pt x="588" y="205"/>
                    </a:lnTo>
                    <a:lnTo>
                      <a:pt x="512" y="174"/>
                    </a:lnTo>
                    <a:close/>
                  </a:path>
                </a:pathLst>
              </a:custGeom>
              <a:solidFill>
                <a:srgbClr val="DCDCDC"/>
              </a:solidFill>
              <a:ln w="9525">
                <a:solidFill>
                  <a:schemeClr val="bg1"/>
                </a:solidFill>
                <a:round/>
                <a:headEnd/>
                <a:tailEnd/>
              </a:ln>
            </p:spPr>
            <p:txBody>
              <a:bodyPr/>
              <a:lstStyle/>
              <a:p>
                <a:endParaRPr lang="de-DE" sz="1350"/>
              </a:p>
            </p:txBody>
          </p:sp>
          <p:sp>
            <p:nvSpPr>
              <p:cNvPr id="31" name="Freeform 23">
                <a:extLst>
                  <a:ext uri="{FF2B5EF4-FFF2-40B4-BE49-F238E27FC236}">
                    <a16:creationId xmlns:a16="http://schemas.microsoft.com/office/drawing/2014/main" id="{D4CA6367-8892-4748-8A04-DB215DCF58C4}"/>
                  </a:ext>
                </a:extLst>
              </p:cNvPr>
              <p:cNvSpPr>
                <a:spLocks/>
              </p:cNvSpPr>
              <p:nvPr/>
            </p:nvSpPr>
            <p:spPr bwMode="gray">
              <a:xfrm>
                <a:off x="3666482" y="2244082"/>
                <a:ext cx="53340" cy="76453"/>
              </a:xfrm>
              <a:custGeom>
                <a:avLst/>
                <a:gdLst>
                  <a:gd name="T0" fmla="*/ 44450 w 30"/>
                  <a:gd name="T1" fmla="*/ 76453 h 43"/>
                  <a:gd name="T2" fmla="*/ 53340 w 30"/>
                  <a:gd name="T3" fmla="*/ 51561 h 43"/>
                  <a:gd name="T4" fmla="*/ 40894 w 30"/>
                  <a:gd name="T5" fmla="*/ 0 h 43"/>
                  <a:gd name="T6" fmla="*/ 0 w 30"/>
                  <a:gd name="T7" fmla="*/ 1778 h 43"/>
                  <a:gd name="T8" fmla="*/ 5334 w 30"/>
                  <a:gd name="T9" fmla="*/ 42671 h 43"/>
                  <a:gd name="T10" fmla="*/ 17780 w 30"/>
                  <a:gd name="T11" fmla="*/ 71119 h 43"/>
                  <a:gd name="T12" fmla="*/ 44450 w 30"/>
                  <a:gd name="T13" fmla="*/ 76453 h 43"/>
                  <a:gd name="T14" fmla="*/ 0 60000 65536"/>
                  <a:gd name="T15" fmla="*/ 0 60000 65536"/>
                  <a:gd name="T16" fmla="*/ 0 60000 65536"/>
                  <a:gd name="T17" fmla="*/ 0 60000 65536"/>
                  <a:gd name="T18" fmla="*/ 0 60000 65536"/>
                  <a:gd name="T19" fmla="*/ 0 60000 65536"/>
                  <a:gd name="T20" fmla="*/ 0 60000 65536"/>
                  <a:gd name="T21" fmla="*/ 0 w 30"/>
                  <a:gd name="T22" fmla="*/ 0 h 43"/>
                  <a:gd name="T23" fmla="*/ 30 w 30"/>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43">
                    <a:moveTo>
                      <a:pt x="25" y="43"/>
                    </a:moveTo>
                    <a:lnTo>
                      <a:pt x="30" y="29"/>
                    </a:lnTo>
                    <a:lnTo>
                      <a:pt x="23" y="0"/>
                    </a:lnTo>
                    <a:lnTo>
                      <a:pt x="0" y="1"/>
                    </a:lnTo>
                    <a:lnTo>
                      <a:pt x="3" y="24"/>
                    </a:lnTo>
                    <a:lnTo>
                      <a:pt x="10" y="40"/>
                    </a:lnTo>
                    <a:lnTo>
                      <a:pt x="25" y="43"/>
                    </a:lnTo>
                    <a:close/>
                  </a:path>
                </a:pathLst>
              </a:custGeom>
              <a:solidFill>
                <a:srgbClr val="DCDCDC"/>
              </a:solidFill>
              <a:ln w="9525">
                <a:solidFill>
                  <a:schemeClr val="bg1"/>
                </a:solidFill>
                <a:round/>
                <a:headEnd/>
                <a:tailEnd/>
              </a:ln>
            </p:spPr>
            <p:txBody>
              <a:bodyPr/>
              <a:lstStyle/>
              <a:p>
                <a:endParaRPr lang="de-DE" sz="1350"/>
              </a:p>
            </p:txBody>
          </p:sp>
          <p:sp>
            <p:nvSpPr>
              <p:cNvPr id="32" name="Freeform 24">
                <a:extLst>
                  <a:ext uri="{FF2B5EF4-FFF2-40B4-BE49-F238E27FC236}">
                    <a16:creationId xmlns:a16="http://schemas.microsoft.com/office/drawing/2014/main" id="{BE4FBFC1-2A21-44C2-8210-AF510A6E8C89}"/>
                  </a:ext>
                </a:extLst>
              </p:cNvPr>
              <p:cNvSpPr>
                <a:spLocks/>
              </p:cNvSpPr>
              <p:nvPr/>
            </p:nvSpPr>
            <p:spPr bwMode="gray">
              <a:xfrm>
                <a:off x="3662926" y="2457441"/>
                <a:ext cx="184911" cy="124459"/>
              </a:xfrm>
              <a:custGeom>
                <a:avLst/>
                <a:gdLst>
                  <a:gd name="T0" fmla="*/ 45309 w 151"/>
                  <a:gd name="T1" fmla="*/ 32945 h 102"/>
                  <a:gd name="T2" fmla="*/ 80822 w 151"/>
                  <a:gd name="T3" fmla="*/ 107376 h 102"/>
                  <a:gd name="T4" fmla="*/ 97966 w 151"/>
                  <a:gd name="T5" fmla="*/ 119578 h 102"/>
                  <a:gd name="T6" fmla="*/ 155521 w 151"/>
                  <a:gd name="T7" fmla="*/ 124459 h 102"/>
                  <a:gd name="T8" fmla="*/ 184911 w 151"/>
                  <a:gd name="T9" fmla="*/ 74431 h 102"/>
                  <a:gd name="T10" fmla="*/ 175114 w 151"/>
                  <a:gd name="T11" fmla="*/ 34165 h 102"/>
                  <a:gd name="T12" fmla="*/ 82047 w 151"/>
                  <a:gd name="T13" fmla="*/ 13422 h 102"/>
                  <a:gd name="T14" fmla="*/ 0 w 151"/>
                  <a:gd name="T15" fmla="*/ 0 h 102"/>
                  <a:gd name="T16" fmla="*/ 3674 w 151"/>
                  <a:gd name="T17" fmla="*/ 15862 h 102"/>
                  <a:gd name="T18" fmla="*/ 45309 w 151"/>
                  <a:gd name="T19" fmla="*/ 32945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1"/>
                  <a:gd name="T31" fmla="*/ 0 h 102"/>
                  <a:gd name="T32" fmla="*/ 151 w 151"/>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1" h="102">
                    <a:moveTo>
                      <a:pt x="37" y="27"/>
                    </a:moveTo>
                    <a:lnTo>
                      <a:pt x="66" y="88"/>
                    </a:lnTo>
                    <a:lnTo>
                      <a:pt x="80" y="98"/>
                    </a:lnTo>
                    <a:lnTo>
                      <a:pt x="127" y="102"/>
                    </a:lnTo>
                    <a:lnTo>
                      <a:pt x="151" y="61"/>
                    </a:lnTo>
                    <a:lnTo>
                      <a:pt x="143" y="28"/>
                    </a:lnTo>
                    <a:lnTo>
                      <a:pt x="67" y="11"/>
                    </a:lnTo>
                    <a:lnTo>
                      <a:pt x="0" y="0"/>
                    </a:lnTo>
                    <a:lnTo>
                      <a:pt x="3" y="13"/>
                    </a:lnTo>
                    <a:lnTo>
                      <a:pt x="37" y="27"/>
                    </a:lnTo>
                    <a:close/>
                  </a:path>
                </a:pathLst>
              </a:custGeom>
              <a:solidFill>
                <a:srgbClr val="DCDCDC"/>
              </a:solidFill>
              <a:ln w="9525">
                <a:solidFill>
                  <a:schemeClr val="bg1"/>
                </a:solidFill>
                <a:round/>
                <a:headEnd/>
                <a:tailEnd/>
              </a:ln>
            </p:spPr>
            <p:txBody>
              <a:bodyPr/>
              <a:lstStyle/>
              <a:p>
                <a:endParaRPr lang="de-DE" sz="1350"/>
              </a:p>
            </p:txBody>
          </p:sp>
          <p:sp>
            <p:nvSpPr>
              <p:cNvPr id="33" name="Freeform 25">
                <a:extLst>
                  <a:ext uri="{FF2B5EF4-FFF2-40B4-BE49-F238E27FC236}">
                    <a16:creationId xmlns:a16="http://schemas.microsoft.com/office/drawing/2014/main" id="{396BAE0A-4001-46CA-AE01-672D9A977F70}"/>
                  </a:ext>
                </a:extLst>
              </p:cNvPr>
              <p:cNvSpPr>
                <a:spLocks/>
              </p:cNvSpPr>
              <p:nvPr/>
            </p:nvSpPr>
            <p:spPr bwMode="gray">
              <a:xfrm>
                <a:off x="4110979" y="2103621"/>
                <a:ext cx="250696" cy="227582"/>
              </a:xfrm>
              <a:custGeom>
                <a:avLst/>
                <a:gdLst>
                  <a:gd name="T0" fmla="*/ 165353 w 141"/>
                  <a:gd name="T1" fmla="*/ 136905 h 128"/>
                  <a:gd name="T2" fmla="*/ 147573 w 141"/>
                  <a:gd name="T3" fmla="*/ 129793 h 128"/>
                  <a:gd name="T4" fmla="*/ 168909 w 141"/>
                  <a:gd name="T5" fmla="*/ 71119 h 128"/>
                  <a:gd name="T6" fmla="*/ 158241 w 141"/>
                  <a:gd name="T7" fmla="*/ 48006 h 128"/>
                  <a:gd name="T8" fmla="*/ 161797 w 141"/>
                  <a:gd name="T9" fmla="*/ 1778 h 128"/>
                  <a:gd name="T10" fmla="*/ 144017 w 141"/>
                  <a:gd name="T11" fmla="*/ 0 h 128"/>
                  <a:gd name="T12" fmla="*/ 96011 w 141"/>
                  <a:gd name="T13" fmla="*/ 53340 h 128"/>
                  <a:gd name="T14" fmla="*/ 8890 w 141"/>
                  <a:gd name="T15" fmla="*/ 92455 h 128"/>
                  <a:gd name="T16" fmla="*/ 0 w 141"/>
                  <a:gd name="T17" fmla="*/ 135127 h 128"/>
                  <a:gd name="T18" fmla="*/ 10668 w 141"/>
                  <a:gd name="T19" fmla="*/ 161797 h 128"/>
                  <a:gd name="T20" fmla="*/ 56896 w 141"/>
                  <a:gd name="T21" fmla="*/ 211580 h 128"/>
                  <a:gd name="T22" fmla="*/ 112013 w 141"/>
                  <a:gd name="T23" fmla="*/ 213358 h 128"/>
                  <a:gd name="T24" fmla="*/ 122681 w 141"/>
                  <a:gd name="T25" fmla="*/ 202690 h 128"/>
                  <a:gd name="T26" fmla="*/ 145795 w 141"/>
                  <a:gd name="T27" fmla="*/ 200912 h 128"/>
                  <a:gd name="T28" fmla="*/ 170687 w 141"/>
                  <a:gd name="T29" fmla="*/ 227582 h 128"/>
                  <a:gd name="T30" fmla="*/ 183133 w 141"/>
                  <a:gd name="T31" fmla="*/ 227582 h 128"/>
                  <a:gd name="T32" fmla="*/ 209802 w 141"/>
                  <a:gd name="T33" fmla="*/ 209802 h 128"/>
                  <a:gd name="T34" fmla="*/ 229360 w 141"/>
                  <a:gd name="T35" fmla="*/ 208024 h 128"/>
                  <a:gd name="T36" fmla="*/ 250696 w 141"/>
                  <a:gd name="T37" fmla="*/ 224026 h 128"/>
                  <a:gd name="T38" fmla="*/ 243584 w 141"/>
                  <a:gd name="T39" fmla="*/ 206246 h 128"/>
                  <a:gd name="T40" fmla="*/ 165353 w 141"/>
                  <a:gd name="T41" fmla="*/ 136905 h 1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1"/>
                  <a:gd name="T64" fmla="*/ 0 h 128"/>
                  <a:gd name="T65" fmla="*/ 141 w 141"/>
                  <a:gd name="T66" fmla="*/ 128 h 1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1" h="128">
                    <a:moveTo>
                      <a:pt x="93" y="77"/>
                    </a:moveTo>
                    <a:lnTo>
                      <a:pt x="83" y="73"/>
                    </a:lnTo>
                    <a:lnTo>
                      <a:pt x="95" y="40"/>
                    </a:lnTo>
                    <a:lnTo>
                      <a:pt x="89" y="27"/>
                    </a:lnTo>
                    <a:lnTo>
                      <a:pt x="91" y="1"/>
                    </a:lnTo>
                    <a:lnTo>
                      <a:pt x="81" y="0"/>
                    </a:lnTo>
                    <a:lnTo>
                      <a:pt x="54" y="30"/>
                    </a:lnTo>
                    <a:lnTo>
                      <a:pt x="5" y="52"/>
                    </a:lnTo>
                    <a:lnTo>
                      <a:pt x="0" y="76"/>
                    </a:lnTo>
                    <a:lnTo>
                      <a:pt x="6" y="91"/>
                    </a:lnTo>
                    <a:lnTo>
                      <a:pt x="32" y="119"/>
                    </a:lnTo>
                    <a:lnTo>
                      <a:pt x="63" y="120"/>
                    </a:lnTo>
                    <a:lnTo>
                      <a:pt x="69" y="114"/>
                    </a:lnTo>
                    <a:lnTo>
                      <a:pt x="82" y="113"/>
                    </a:lnTo>
                    <a:lnTo>
                      <a:pt x="96" y="128"/>
                    </a:lnTo>
                    <a:lnTo>
                      <a:pt x="103" y="128"/>
                    </a:lnTo>
                    <a:lnTo>
                      <a:pt x="118" y="118"/>
                    </a:lnTo>
                    <a:lnTo>
                      <a:pt x="129" y="117"/>
                    </a:lnTo>
                    <a:lnTo>
                      <a:pt x="141" y="126"/>
                    </a:lnTo>
                    <a:lnTo>
                      <a:pt x="137" y="116"/>
                    </a:lnTo>
                    <a:lnTo>
                      <a:pt x="93" y="77"/>
                    </a:lnTo>
                    <a:close/>
                  </a:path>
                </a:pathLst>
              </a:custGeom>
              <a:solidFill>
                <a:srgbClr val="DCDCDC"/>
              </a:solidFill>
              <a:ln w="9525">
                <a:solidFill>
                  <a:schemeClr val="bg1"/>
                </a:solidFill>
                <a:round/>
                <a:headEnd/>
                <a:tailEnd/>
              </a:ln>
            </p:spPr>
            <p:txBody>
              <a:bodyPr/>
              <a:lstStyle/>
              <a:p>
                <a:endParaRPr lang="de-DE" sz="1350"/>
              </a:p>
            </p:txBody>
          </p:sp>
          <p:sp>
            <p:nvSpPr>
              <p:cNvPr id="34" name="Freeform 26">
                <a:extLst>
                  <a:ext uri="{FF2B5EF4-FFF2-40B4-BE49-F238E27FC236}">
                    <a16:creationId xmlns:a16="http://schemas.microsoft.com/office/drawing/2014/main" id="{1E9370F5-DBE7-479C-A6A8-696A5AD45DF0}"/>
                  </a:ext>
                </a:extLst>
              </p:cNvPr>
              <p:cNvSpPr>
                <a:spLocks/>
              </p:cNvSpPr>
              <p:nvPr/>
            </p:nvSpPr>
            <p:spPr bwMode="gray">
              <a:xfrm>
                <a:off x="5392908" y="2695691"/>
                <a:ext cx="247140" cy="202691"/>
              </a:xfrm>
              <a:custGeom>
                <a:avLst/>
                <a:gdLst>
                  <a:gd name="T0" fmla="*/ 206565 w 201"/>
                  <a:gd name="T1" fmla="*/ 108102 h 165"/>
                  <a:gd name="T2" fmla="*/ 211483 w 201"/>
                  <a:gd name="T3" fmla="*/ 83533 h 165"/>
                  <a:gd name="T4" fmla="*/ 168449 w 201"/>
                  <a:gd name="T5" fmla="*/ 18426 h 165"/>
                  <a:gd name="T6" fmla="*/ 152464 w 201"/>
                  <a:gd name="T7" fmla="*/ 0 h 165"/>
                  <a:gd name="T8" fmla="*/ 131562 w 201"/>
                  <a:gd name="T9" fmla="*/ 3685 h 165"/>
                  <a:gd name="T10" fmla="*/ 108201 w 201"/>
                  <a:gd name="T11" fmla="*/ 34396 h 165"/>
                  <a:gd name="T12" fmla="*/ 67625 w 201"/>
                  <a:gd name="T13" fmla="*/ 13513 h 165"/>
                  <a:gd name="T14" fmla="*/ 13525 w 201"/>
                  <a:gd name="T15" fmla="*/ 62650 h 165"/>
                  <a:gd name="T16" fmla="*/ 18443 w 201"/>
                  <a:gd name="T17" fmla="*/ 149868 h 165"/>
                  <a:gd name="T18" fmla="*/ 0 w 201"/>
                  <a:gd name="T19" fmla="*/ 184265 h 165"/>
                  <a:gd name="T20" fmla="*/ 12296 w 201"/>
                  <a:gd name="T21" fmla="*/ 194092 h 165"/>
                  <a:gd name="T22" fmla="*/ 87298 w 201"/>
                  <a:gd name="T23" fmla="*/ 164610 h 165"/>
                  <a:gd name="T24" fmla="*/ 186892 w 201"/>
                  <a:gd name="T25" fmla="*/ 168295 h 165"/>
                  <a:gd name="T26" fmla="*/ 217631 w 201"/>
                  <a:gd name="T27" fmla="*/ 202691 h 165"/>
                  <a:gd name="T28" fmla="*/ 247140 w 201"/>
                  <a:gd name="T29" fmla="*/ 154782 h 165"/>
                  <a:gd name="T30" fmla="*/ 244681 w 201"/>
                  <a:gd name="T31" fmla="*/ 124071 h 165"/>
                  <a:gd name="T32" fmla="*/ 206565 w 201"/>
                  <a:gd name="T33" fmla="*/ 108102 h 1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1"/>
                  <a:gd name="T52" fmla="*/ 0 h 165"/>
                  <a:gd name="T53" fmla="*/ 201 w 201"/>
                  <a:gd name="T54" fmla="*/ 165 h 1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1" h="165">
                    <a:moveTo>
                      <a:pt x="168" y="88"/>
                    </a:moveTo>
                    <a:lnTo>
                      <a:pt x="172" y="68"/>
                    </a:lnTo>
                    <a:lnTo>
                      <a:pt x="137" y="15"/>
                    </a:lnTo>
                    <a:lnTo>
                      <a:pt x="124" y="0"/>
                    </a:lnTo>
                    <a:lnTo>
                      <a:pt x="107" y="3"/>
                    </a:lnTo>
                    <a:lnTo>
                      <a:pt x="88" y="28"/>
                    </a:lnTo>
                    <a:lnTo>
                      <a:pt x="55" y="11"/>
                    </a:lnTo>
                    <a:lnTo>
                      <a:pt x="11" y="51"/>
                    </a:lnTo>
                    <a:lnTo>
                      <a:pt x="15" y="122"/>
                    </a:lnTo>
                    <a:lnTo>
                      <a:pt x="0" y="150"/>
                    </a:lnTo>
                    <a:lnTo>
                      <a:pt x="10" y="158"/>
                    </a:lnTo>
                    <a:lnTo>
                      <a:pt x="71" y="134"/>
                    </a:lnTo>
                    <a:lnTo>
                      <a:pt x="152" y="137"/>
                    </a:lnTo>
                    <a:lnTo>
                      <a:pt x="177" y="165"/>
                    </a:lnTo>
                    <a:lnTo>
                      <a:pt x="201" y="126"/>
                    </a:lnTo>
                    <a:lnTo>
                      <a:pt x="199" y="101"/>
                    </a:lnTo>
                    <a:lnTo>
                      <a:pt x="168" y="88"/>
                    </a:lnTo>
                    <a:close/>
                  </a:path>
                </a:pathLst>
              </a:custGeom>
              <a:solidFill>
                <a:srgbClr val="DCDCDC"/>
              </a:solidFill>
              <a:ln w="9525">
                <a:solidFill>
                  <a:schemeClr val="bg1"/>
                </a:solidFill>
                <a:round/>
                <a:headEnd/>
                <a:tailEnd/>
              </a:ln>
            </p:spPr>
            <p:txBody>
              <a:bodyPr/>
              <a:lstStyle/>
              <a:p>
                <a:endParaRPr lang="de-DE" sz="1350"/>
              </a:p>
            </p:txBody>
          </p:sp>
        </p:grpSp>
        <p:pic>
          <p:nvPicPr>
            <p:cNvPr id="35" name="Hydroelectric plant">
              <a:extLst>
                <a:ext uri="{FF2B5EF4-FFF2-40B4-BE49-F238E27FC236}">
                  <a16:creationId xmlns:a16="http://schemas.microsoft.com/office/drawing/2014/main" id="{5ED11D34-92E9-4B57-A601-F4F8E941B065}"/>
                </a:ext>
              </a:extLst>
            </p:cNvPr>
            <p:cNvPicPr>
              <a:picLocks noChangeAspect="1" noChangeArrowheads="1"/>
            </p:cNvPicPr>
            <p:nvPr>
              <p:custDataLst>
                <p:tags r:id="rId1"/>
              </p:custDataLst>
            </p:nvPr>
          </p:nvPicPr>
          <p:blipFill rotWithShape="1">
            <a:blip r:embed="rId4" cstate="print">
              <a:extLst>
                <a:ext uri="{28A0092B-C50C-407E-A947-70E740481C1C}">
                  <a14:useLocalDpi xmlns:a14="http://schemas.microsoft.com/office/drawing/2010/main" val="0"/>
                </a:ext>
              </a:extLst>
            </a:blip>
            <a:srcRect b="14137"/>
            <a:stretch/>
          </p:blipFill>
          <p:spPr bwMode="auto">
            <a:xfrm>
              <a:off x="2626941" y="2728626"/>
              <a:ext cx="214730" cy="18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feld 49">
              <a:extLst>
                <a:ext uri="{FF2B5EF4-FFF2-40B4-BE49-F238E27FC236}">
                  <a16:creationId xmlns:a16="http://schemas.microsoft.com/office/drawing/2014/main" id="{A355CDF7-7DDC-4DB6-9690-59ED015D535A}"/>
                </a:ext>
              </a:extLst>
            </p:cNvPr>
            <p:cNvSpPr txBox="1"/>
            <p:nvPr/>
          </p:nvSpPr>
          <p:spPr>
            <a:xfrm>
              <a:off x="2243250" y="2893056"/>
              <a:ext cx="897994" cy="207749"/>
            </a:xfrm>
            <a:prstGeom prst="rect">
              <a:avLst/>
            </a:prstGeom>
            <a:noFill/>
          </p:spPr>
          <p:txBody>
            <a:bodyPr wrap="square" rtlCol="0">
              <a:spAutoFit/>
            </a:bodyPr>
            <a:lstStyle/>
            <a:p>
              <a:pPr algn="ctr"/>
              <a:r>
                <a:rPr lang="de-DE" sz="750">
                  <a:solidFill>
                    <a:srgbClr val="0078DC"/>
                  </a:solidFill>
                </a:rPr>
                <a:t>Happurg</a:t>
              </a:r>
            </a:p>
          </p:txBody>
        </p:sp>
        <p:sp>
          <p:nvSpPr>
            <p:cNvPr id="37" name="TextBox 36">
              <a:extLst>
                <a:ext uri="{FF2B5EF4-FFF2-40B4-BE49-F238E27FC236}">
                  <a16:creationId xmlns:a16="http://schemas.microsoft.com/office/drawing/2014/main" id="{01972D8D-E18D-4E99-8EFD-57DF8240403D}"/>
                </a:ext>
              </a:extLst>
            </p:cNvPr>
            <p:cNvSpPr txBox="1"/>
            <p:nvPr/>
          </p:nvSpPr>
          <p:spPr>
            <a:xfrm>
              <a:off x="2297343" y="2521760"/>
              <a:ext cx="598186" cy="207749"/>
            </a:xfrm>
            <a:prstGeom prst="rect">
              <a:avLst/>
            </a:prstGeom>
            <a:noFill/>
          </p:spPr>
          <p:txBody>
            <a:bodyPr wrap="square">
              <a:spAutoFit/>
            </a:bodyPr>
            <a:lstStyle/>
            <a:p>
              <a:r>
                <a:rPr lang="de-DE" sz="750" b="1"/>
                <a:t>Bayern</a:t>
              </a:r>
              <a:endParaRPr lang="en-US" sz="750" b="1"/>
            </a:p>
          </p:txBody>
        </p:sp>
      </p:grpSp>
      <p:sp>
        <p:nvSpPr>
          <p:cNvPr id="40" name="Inhaltsplatzhalter 5">
            <a:extLst>
              <a:ext uri="{FF2B5EF4-FFF2-40B4-BE49-F238E27FC236}">
                <a16:creationId xmlns:a16="http://schemas.microsoft.com/office/drawing/2014/main" id="{F4243878-C48D-449E-A257-560DF3979D9B}"/>
              </a:ext>
            </a:extLst>
          </p:cNvPr>
          <p:cNvSpPr txBox="1">
            <a:spLocks/>
          </p:cNvSpPr>
          <p:nvPr/>
        </p:nvSpPr>
        <p:spPr>
          <a:xfrm>
            <a:off x="3761976" y="1090948"/>
            <a:ext cx="5077183" cy="3526453"/>
          </a:xfrm>
          <a:prstGeom prst="rect">
            <a:avLst/>
          </a:prstGeom>
          <a:noFill/>
        </p:spPr>
        <p:txBody>
          <a:bodyPr lIns="91440" tIns="45720" rIns="91440" bIns="45720" anchor="t">
            <a:normAutofit fontScale="85000" lnSpcReduction="20000"/>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pPr marL="207645" lvl="1">
              <a:lnSpc>
                <a:spcPct val="120000"/>
              </a:lnSpc>
            </a:pPr>
            <a:r>
              <a:rPr lang="de-DE" sz="1850"/>
              <a:t>PSW Happurg im Landkreis Nürnberger Land verfügt über vier Turbinensätze mit einer </a:t>
            </a:r>
            <a:r>
              <a:rPr lang="de-DE" sz="1850" b="1"/>
              <a:t>Gesamtleistung von 160 Megawatt bei einer Fallhöhe von 209 m</a:t>
            </a:r>
            <a:r>
              <a:rPr lang="de-DE" sz="1850"/>
              <a:t>. </a:t>
            </a:r>
            <a:endParaRPr lang="de-DE"/>
          </a:p>
          <a:p>
            <a:pPr marL="207645" lvl="1">
              <a:lnSpc>
                <a:spcPct val="120000"/>
              </a:lnSpc>
            </a:pPr>
            <a:r>
              <a:rPr lang="de-DE" sz="1850"/>
              <a:t>Teil des Betriebsbereichs des PSW ist der </a:t>
            </a:r>
            <a:r>
              <a:rPr lang="de-DE" sz="1850" err="1"/>
              <a:t>Happurger</a:t>
            </a:r>
            <a:r>
              <a:rPr lang="de-DE" sz="1850"/>
              <a:t> See als </a:t>
            </a:r>
            <a:r>
              <a:rPr lang="de-DE" sz="1850" b="1"/>
              <a:t>Unterbecken</a:t>
            </a:r>
            <a:r>
              <a:rPr lang="de-DE" sz="1850"/>
              <a:t> mit dem Kleinkraftwerk Happach. </a:t>
            </a:r>
            <a:endParaRPr lang="de-DE" sz="1850">
              <a:cs typeface="Arial"/>
            </a:endParaRPr>
          </a:p>
          <a:p>
            <a:pPr marL="207645" lvl="1">
              <a:lnSpc>
                <a:spcPct val="120000"/>
              </a:lnSpc>
            </a:pPr>
            <a:r>
              <a:rPr lang="de-DE" sz="1850"/>
              <a:t>Mit einer Kapazität von </a:t>
            </a:r>
            <a:r>
              <a:rPr lang="de-DE" sz="1850" b="1"/>
              <a:t>850 MWh</a:t>
            </a:r>
            <a:r>
              <a:rPr lang="de-DE" sz="1850"/>
              <a:t> ist Happurg der </a:t>
            </a:r>
            <a:r>
              <a:rPr lang="de-DE" sz="1850" b="1"/>
              <a:t>größte Pumpspeicher</a:t>
            </a:r>
            <a:r>
              <a:rPr lang="de-DE" sz="1850"/>
              <a:t> in Bayern. </a:t>
            </a:r>
            <a:endParaRPr lang="de-DE" sz="1850">
              <a:cs typeface="Arial"/>
            </a:endParaRPr>
          </a:p>
          <a:p>
            <a:pPr marL="207645" lvl="1">
              <a:lnSpc>
                <a:spcPct val="120000"/>
              </a:lnSpc>
            </a:pPr>
            <a:r>
              <a:rPr lang="de-DE" sz="1850"/>
              <a:t>Das Kraftwerk ist </a:t>
            </a:r>
            <a:r>
              <a:rPr lang="de-DE" sz="1850" b="1"/>
              <a:t>seit 1958 in Betrieb</a:t>
            </a:r>
            <a:r>
              <a:rPr lang="de-DE" sz="1850"/>
              <a:t>.</a:t>
            </a:r>
            <a:endParaRPr lang="de-DE" sz="1850">
              <a:cs typeface="Arial"/>
            </a:endParaRPr>
          </a:p>
          <a:p>
            <a:pPr marL="207645" lvl="1">
              <a:lnSpc>
                <a:spcPct val="120000"/>
              </a:lnSpc>
            </a:pPr>
            <a:r>
              <a:rPr lang="de-DE" sz="1850" dirty="0"/>
              <a:t>Nach </a:t>
            </a:r>
            <a:r>
              <a:rPr lang="de-DE" sz="1850" b="1" dirty="0"/>
              <a:t>Schäden am Oberbecken </a:t>
            </a:r>
            <a:r>
              <a:rPr lang="de-DE" sz="1850" dirty="0"/>
              <a:t>ist der Pumpspeicherbetrieb seit </a:t>
            </a:r>
            <a:r>
              <a:rPr lang="de-DE" sz="1850" b="1" dirty="0"/>
              <a:t>2011</a:t>
            </a:r>
            <a:r>
              <a:rPr lang="de-DE" sz="1850" dirty="0"/>
              <a:t> unterbrochen.</a:t>
            </a:r>
            <a:endParaRPr lang="de-DE" sz="1850" dirty="0">
              <a:cs typeface="Arial"/>
            </a:endParaRPr>
          </a:p>
          <a:p>
            <a:pPr marL="207645" lvl="1"/>
            <a:endParaRPr lang="en-DE" sz="675">
              <a:cs typeface="Arial"/>
            </a:endParaRPr>
          </a:p>
        </p:txBody>
      </p:sp>
      <p:sp>
        <p:nvSpPr>
          <p:cNvPr id="38" name="Rectangle 19">
            <a:extLst>
              <a:ext uri="{FF2B5EF4-FFF2-40B4-BE49-F238E27FC236}">
                <a16:creationId xmlns:a16="http://schemas.microsoft.com/office/drawing/2014/main" id="{1A05968F-B88B-46C0-A5FD-9F54772E39A8}"/>
              </a:ext>
            </a:extLst>
          </p:cNvPr>
          <p:cNvSpPr txBox="1">
            <a:spLocks noChangeArrowheads="1"/>
          </p:cNvSpPr>
          <p:nvPr/>
        </p:nvSpPr>
        <p:spPr>
          <a:xfrm>
            <a:off x="319768" y="204350"/>
            <a:ext cx="7453138" cy="457200"/>
          </a:xfrm>
          <a:prstGeom prst="rect">
            <a:avLst/>
          </a:prstGeom>
          <a:extLst>
            <a:ext uri="{91240B29-F687-4F45-9708-019B960494DF}">
              <a14:hiddenLine xmlns:a14="http://schemas.microsoft.com/office/drawing/2010/main" w="12700">
                <a:solidFill>
                  <a:schemeClr val="tx1"/>
                </a:solidFill>
                <a:miter lim="800000"/>
                <a:headEnd/>
                <a:tailEnd/>
              </a14:hiddenLine>
            </a:ext>
          </a:extLst>
        </p:spPr>
        <p:txBody>
          <a:bodyPr vert="horz" lIns="0" tIns="0" rIns="0" bIns="0" rtlCol="0" anchor="t" anchorCtr="0">
            <a:noAutofit/>
          </a:bodyPr>
          <a:lstStyle>
            <a:lvl1pPr algn="l" defTabSz="685800" rtl="0" eaLnBrk="1" latinLnBrk="0" hangingPunct="1">
              <a:spcBef>
                <a:spcPct val="0"/>
              </a:spcBef>
              <a:buNone/>
              <a:defRPr lang="de-DE" sz="1800" b="1" kern="1200" dirty="0">
                <a:solidFill>
                  <a:srgbClr val="0078DC"/>
                </a:solidFill>
                <a:latin typeface="+mj-lt"/>
                <a:ea typeface="+mj-ea"/>
                <a:cs typeface="+mj-cs"/>
              </a:defRPr>
            </a:lvl1pPr>
          </a:lstStyle>
          <a:p>
            <a:r>
              <a:rPr lang="de-DE" altLang="de-DE" sz="2000"/>
              <a:t>PSW Happurg – Überblick und Historie</a:t>
            </a:r>
          </a:p>
        </p:txBody>
      </p:sp>
    </p:spTree>
    <p:extLst>
      <p:ext uri="{BB962C8B-B14F-4D97-AF65-F5344CB8AC3E}">
        <p14:creationId xmlns:p14="http://schemas.microsoft.com/office/powerpoint/2010/main" val="10094306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C8243AB-5DF1-4AA1-B4E2-47048BAD2A16}"/>
              </a:ext>
            </a:extLst>
          </p:cNvPr>
          <p:cNvSpPr>
            <a:spLocks noGrp="1"/>
          </p:cNvSpPr>
          <p:nvPr>
            <p:ph type="sldNum" sz="quarter" idx="12"/>
          </p:nvPr>
        </p:nvSpPr>
        <p:spPr/>
        <p:txBody>
          <a:bodyPr/>
          <a:lstStyle/>
          <a:p>
            <a:fld id="{9D543ADB-E95E-4587-963D-D3C6AB2E96C0}" type="slidenum">
              <a:rPr lang="de-DE" smtClean="0"/>
              <a:pPr/>
              <a:t>4</a:t>
            </a:fld>
            <a:endParaRPr lang="de-DE"/>
          </a:p>
        </p:txBody>
      </p:sp>
      <p:sp>
        <p:nvSpPr>
          <p:cNvPr id="6" name="Titel 1">
            <a:extLst>
              <a:ext uri="{FF2B5EF4-FFF2-40B4-BE49-F238E27FC236}">
                <a16:creationId xmlns:a16="http://schemas.microsoft.com/office/drawing/2014/main" id="{2C8CE37A-9ACC-46E2-80D1-A2F74AD6A5AA}"/>
              </a:ext>
            </a:extLst>
          </p:cNvPr>
          <p:cNvSpPr>
            <a:spLocks noGrp="1"/>
          </p:cNvSpPr>
          <p:nvPr>
            <p:ph type="title"/>
          </p:nvPr>
        </p:nvSpPr>
        <p:spPr>
          <a:xfrm>
            <a:off x="269994" y="278294"/>
            <a:ext cx="6500635" cy="506250"/>
          </a:xfrm>
        </p:spPr>
        <p:txBody>
          <a:bodyPr/>
          <a:lstStyle/>
          <a:p>
            <a:r>
              <a:rPr lang="de-DE" altLang="de-DE"/>
              <a:t>Kenndaten PSW Happurg</a:t>
            </a:r>
            <a:endParaRPr lang="en-NL"/>
          </a:p>
        </p:txBody>
      </p:sp>
      <p:grpSp>
        <p:nvGrpSpPr>
          <p:cNvPr id="110" name="Gruppieren 109">
            <a:extLst>
              <a:ext uri="{FF2B5EF4-FFF2-40B4-BE49-F238E27FC236}">
                <a16:creationId xmlns:a16="http://schemas.microsoft.com/office/drawing/2014/main" id="{07B6885B-40C6-4E09-ABCA-2250822ECC8C}"/>
              </a:ext>
            </a:extLst>
          </p:cNvPr>
          <p:cNvGrpSpPr/>
          <p:nvPr/>
        </p:nvGrpSpPr>
        <p:grpSpPr>
          <a:xfrm>
            <a:off x="3546532" y="2281852"/>
            <a:ext cx="5447696" cy="1422168"/>
            <a:chOff x="4728708" y="3029925"/>
            <a:chExt cx="7263595" cy="1896224"/>
          </a:xfrm>
        </p:grpSpPr>
        <p:sp>
          <p:nvSpPr>
            <p:cNvPr id="3" name="Textfeld 15">
              <a:extLst>
                <a:ext uri="{FF2B5EF4-FFF2-40B4-BE49-F238E27FC236}">
                  <a16:creationId xmlns:a16="http://schemas.microsoft.com/office/drawing/2014/main" id="{D20524D6-4F7F-4438-9505-C81ACB11BCDC}"/>
                </a:ext>
              </a:extLst>
            </p:cNvPr>
            <p:cNvSpPr txBox="1"/>
            <p:nvPr/>
          </p:nvSpPr>
          <p:spPr>
            <a:xfrm>
              <a:off x="4728708" y="3448873"/>
              <a:ext cx="4673534" cy="1337119"/>
            </a:xfrm>
            <a:prstGeom prst="rect">
              <a:avLst/>
            </a:prstGeom>
            <a:noFill/>
          </p:spPr>
          <p:txBody>
            <a:bodyPr wrap="square">
              <a:spAutoFit/>
            </a:bodyPr>
            <a:lstStyle>
              <a:lvl1pPr>
                <a:buClr>
                  <a:srgbClr val="0078DC"/>
                </a:buClr>
                <a:buFont typeface="Wingdings" pitchFamily="2" charset="2"/>
                <a:buChar char=""/>
              </a:lvl1pPr>
              <a:lvl2pPr>
                <a:buClr>
                  <a:srgbClr val="0078DC"/>
                </a:buClr>
                <a:buFont typeface="Wingdings" pitchFamily="2" charset="2"/>
                <a:buChar char=""/>
              </a:lvl2pPr>
              <a:lvl3pPr>
                <a:buClr>
                  <a:srgbClr val="0078DC"/>
                </a:buClr>
                <a:buFont typeface="Wingdings" pitchFamily="2" charset="2"/>
                <a:buChar char=""/>
              </a:lvl3pPr>
              <a:lvl4pPr>
                <a:buClr>
                  <a:srgbClr val="0078DC"/>
                </a:buClr>
                <a:buFont typeface="Wingdings" pitchFamily="2" charset="2"/>
                <a:buChar char=""/>
              </a:lvl4pPr>
              <a:lvl5pPr>
                <a:buClr>
                  <a:srgbClr val="0078DC"/>
                </a:buClr>
                <a:buFont typeface="Wingdings" pitchFamily="2" charset="2"/>
                <a:buChar char=""/>
              </a:lvl5pPr>
              <a:lvl6pPr>
                <a:buClr>
                  <a:srgbClr val="0078DC"/>
                </a:buClr>
                <a:buFont typeface="Wingdings" pitchFamily="2" charset="2"/>
                <a:buChar char=""/>
              </a:lvl6pPr>
              <a:lvl7pPr>
                <a:buClr>
                  <a:srgbClr val="0078DC"/>
                </a:buClr>
                <a:buFont typeface="Wingdings" pitchFamily="2" charset="2"/>
                <a:buChar char=""/>
              </a:lvl7pPr>
              <a:lvl8pPr>
                <a:buClr>
                  <a:srgbClr val="0078DC"/>
                </a:buClr>
                <a:buFont typeface="Wingdings" pitchFamily="2" charset="2"/>
                <a:buChar char=""/>
              </a:lvl8pPr>
            </a:lstStyle>
            <a:p>
              <a:pPr marL="128588" indent="-128588">
                <a:spcAft>
                  <a:spcPts val="150"/>
                </a:spcAft>
                <a:tabLst>
                  <a:tab pos="1162646" algn="l"/>
                  <a:tab pos="2625329" algn="l"/>
                  <a:tab pos="3836194" algn="l"/>
                </a:tabLst>
              </a:pPr>
              <a:endParaRPr lang="de-DE" altLang="de-DE" sz="1050"/>
            </a:p>
            <a:p>
              <a:pPr marL="128588" indent="-128588">
                <a:spcAft>
                  <a:spcPts val="150"/>
                </a:spcAft>
                <a:tabLst>
                  <a:tab pos="1162646" algn="l"/>
                  <a:tab pos="2625329" algn="l"/>
                  <a:tab pos="3836194" algn="l"/>
                </a:tabLst>
              </a:pPr>
              <a:r>
                <a:rPr lang="de-DE" altLang="de-DE" sz="1050"/>
                <a:t>Anzahl               </a:t>
              </a:r>
              <a:r>
                <a:rPr lang="de-DE" altLang="de-DE" sz="1050" b="1"/>
                <a:t>2</a:t>
              </a:r>
              <a:r>
                <a:rPr lang="de-DE" altLang="de-DE" sz="1050"/>
                <a:t>	</a:t>
              </a:r>
              <a:endParaRPr lang="de-DE" altLang="de-DE" sz="1050">
                <a:sym typeface="Wingdings" panose="05000000000000000000" pitchFamily="2" charset="2"/>
              </a:endParaRPr>
            </a:p>
            <a:p>
              <a:pPr marL="128588" indent="-128588">
                <a:spcAft>
                  <a:spcPts val="150"/>
                </a:spcAft>
                <a:tabLst>
                  <a:tab pos="1162646" algn="l"/>
                  <a:tab pos="2625329" algn="l"/>
                  <a:tab pos="3836194" algn="l"/>
                </a:tabLst>
              </a:pPr>
              <a:r>
                <a:rPr lang="de-DE" altLang="de-DE" sz="1050"/>
                <a:t>Fallhöhe            </a:t>
              </a:r>
              <a:r>
                <a:rPr lang="de-DE" altLang="de-DE" sz="1050" b="1"/>
                <a:t>209</a:t>
              </a:r>
              <a:r>
                <a:rPr lang="de-DE" altLang="de-DE" sz="1050"/>
                <a:t> m	</a:t>
              </a:r>
            </a:p>
            <a:p>
              <a:pPr marL="128588" indent="-128588">
                <a:spcAft>
                  <a:spcPts val="150"/>
                </a:spcAft>
                <a:tabLst>
                  <a:tab pos="1162646" algn="l"/>
                  <a:tab pos="2625329" algn="l"/>
                  <a:tab pos="3836194" algn="l"/>
                </a:tabLst>
              </a:pPr>
              <a:r>
                <a:rPr lang="de-DE" altLang="de-DE" sz="1050"/>
                <a:t>Länge                </a:t>
              </a:r>
              <a:r>
                <a:rPr lang="de-DE" altLang="de-DE" sz="1050" b="1"/>
                <a:t>1.150</a:t>
              </a:r>
              <a:r>
                <a:rPr lang="de-DE" altLang="de-DE" sz="1050"/>
                <a:t> m	</a:t>
              </a:r>
            </a:p>
            <a:p>
              <a:pPr marL="128588" indent="-128588">
                <a:spcAft>
                  <a:spcPts val="150"/>
                </a:spcAft>
                <a:tabLst>
                  <a:tab pos="1162646" algn="l"/>
                  <a:tab pos="2625329" algn="l"/>
                  <a:tab pos="3836194" algn="l"/>
                </a:tabLst>
              </a:pPr>
              <a:r>
                <a:rPr lang="de-DE" altLang="de-DE" sz="1050"/>
                <a:t>Durchmesser    </a:t>
              </a:r>
              <a:r>
                <a:rPr lang="de-DE" altLang="de-DE" sz="1050" b="1"/>
                <a:t>3.700</a:t>
              </a:r>
              <a:r>
                <a:rPr lang="de-DE" altLang="de-DE" sz="1050"/>
                <a:t> mm</a:t>
              </a:r>
              <a:endParaRPr lang="de-DE" sz="1050">
                <a:solidFill>
                  <a:srgbClr val="5E5E5E"/>
                </a:solidFill>
              </a:endParaRPr>
            </a:p>
          </p:txBody>
        </p:sp>
        <p:pic>
          <p:nvPicPr>
            <p:cNvPr id="5" name="Picture 4">
              <a:extLst>
                <a:ext uri="{FF2B5EF4-FFF2-40B4-BE49-F238E27FC236}">
                  <a16:creationId xmlns:a16="http://schemas.microsoft.com/office/drawing/2014/main" id="{4D8D3E2E-1F1C-4FA5-9C09-1FCB2D0E26C7}"/>
                </a:ext>
              </a:extLst>
            </p:cNvPr>
            <p:cNvPicPr>
              <a:picLocks noChangeAspect="1"/>
            </p:cNvPicPr>
            <p:nvPr/>
          </p:nvPicPr>
          <p:blipFill>
            <a:blip r:embed="rId5"/>
            <a:stretch>
              <a:fillRect/>
            </a:stretch>
          </p:blipFill>
          <p:spPr>
            <a:xfrm>
              <a:off x="7133111" y="3402690"/>
              <a:ext cx="2029268" cy="1390713"/>
            </a:xfrm>
            <a:prstGeom prst="rect">
              <a:avLst/>
            </a:prstGeom>
          </p:spPr>
        </p:pic>
        <p:sp>
          <p:nvSpPr>
            <p:cNvPr id="11" name="Rectangle 10">
              <a:extLst>
                <a:ext uri="{FF2B5EF4-FFF2-40B4-BE49-F238E27FC236}">
                  <a16:creationId xmlns:a16="http://schemas.microsoft.com/office/drawing/2014/main" id="{B01B29EE-908F-4B11-A1ED-18F7F77520FB}"/>
                </a:ext>
              </a:extLst>
            </p:cNvPr>
            <p:cNvSpPr/>
            <p:nvPr/>
          </p:nvSpPr>
          <p:spPr>
            <a:xfrm>
              <a:off x="4728709" y="3153721"/>
              <a:ext cx="7263594" cy="1772428"/>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2" name="TextBox 11">
              <a:extLst>
                <a:ext uri="{FF2B5EF4-FFF2-40B4-BE49-F238E27FC236}">
                  <a16:creationId xmlns:a16="http://schemas.microsoft.com/office/drawing/2014/main" id="{2D08AC80-090D-407C-A4E2-E47C1EEDE6E8}"/>
                </a:ext>
              </a:extLst>
            </p:cNvPr>
            <p:cNvSpPr txBox="1"/>
            <p:nvPr/>
          </p:nvSpPr>
          <p:spPr>
            <a:xfrm>
              <a:off x="4831795" y="3029925"/>
              <a:ext cx="2301315" cy="369332"/>
            </a:xfrm>
            <a:prstGeom prst="rect">
              <a:avLst/>
            </a:prstGeom>
            <a:solidFill>
              <a:schemeClr val="tx2"/>
            </a:solidFill>
          </p:spPr>
          <p:txBody>
            <a:bodyPr wrap="square">
              <a:spAutoFit/>
            </a:bodyPr>
            <a:lstStyle/>
            <a:p>
              <a:r>
                <a:rPr lang="de-DE" sz="1200" b="1">
                  <a:solidFill>
                    <a:schemeClr val="bg2"/>
                  </a:solidFill>
                  <a:highlight>
                    <a:srgbClr val="0078DC"/>
                  </a:highlight>
                  <a:latin typeface="+mj-lt"/>
                </a:rPr>
                <a:t>Druckrohrleitungen</a:t>
              </a:r>
              <a:endParaRPr lang="de-DE" sz="900" b="1">
                <a:solidFill>
                  <a:schemeClr val="bg2"/>
                </a:solidFill>
                <a:highlight>
                  <a:srgbClr val="0078DC"/>
                </a:highlight>
                <a:latin typeface="+mj-lt"/>
              </a:endParaRPr>
            </a:p>
          </p:txBody>
        </p:sp>
        <p:pic>
          <p:nvPicPr>
            <p:cNvPr id="23" name="Picture 22">
              <a:extLst>
                <a:ext uri="{FF2B5EF4-FFF2-40B4-BE49-F238E27FC236}">
                  <a16:creationId xmlns:a16="http://schemas.microsoft.com/office/drawing/2014/main" id="{820371AB-ECFE-4E9B-A69E-916563DFC92D}"/>
                </a:ext>
              </a:extLst>
            </p:cNvPr>
            <p:cNvPicPr>
              <a:picLocks noChangeAspect="1"/>
            </p:cNvPicPr>
            <p:nvPr/>
          </p:nvPicPr>
          <p:blipFill>
            <a:blip r:embed="rId6"/>
            <a:stretch>
              <a:fillRect/>
            </a:stretch>
          </p:blipFill>
          <p:spPr>
            <a:xfrm>
              <a:off x="9247379" y="3384777"/>
              <a:ext cx="2414197" cy="1400334"/>
            </a:xfrm>
            <a:prstGeom prst="rect">
              <a:avLst/>
            </a:prstGeom>
          </p:spPr>
        </p:pic>
      </p:grpSp>
      <p:grpSp>
        <p:nvGrpSpPr>
          <p:cNvPr id="2" name="Gruppieren 1">
            <a:extLst>
              <a:ext uri="{FF2B5EF4-FFF2-40B4-BE49-F238E27FC236}">
                <a16:creationId xmlns:a16="http://schemas.microsoft.com/office/drawing/2014/main" id="{BE5F9E3B-1300-4E5F-B978-61C09FA619BF}"/>
              </a:ext>
            </a:extLst>
          </p:cNvPr>
          <p:cNvGrpSpPr/>
          <p:nvPr/>
        </p:nvGrpSpPr>
        <p:grpSpPr>
          <a:xfrm>
            <a:off x="3546532" y="744444"/>
            <a:ext cx="5447696" cy="1545228"/>
            <a:chOff x="4728708" y="992592"/>
            <a:chExt cx="7263595" cy="2060303"/>
          </a:xfrm>
        </p:grpSpPr>
        <p:sp>
          <p:nvSpPr>
            <p:cNvPr id="24" name="Textfeld 15">
              <a:extLst>
                <a:ext uri="{FF2B5EF4-FFF2-40B4-BE49-F238E27FC236}">
                  <a16:creationId xmlns:a16="http://schemas.microsoft.com/office/drawing/2014/main" id="{2218F07F-4E9B-4585-A34C-788C77CE8B08}"/>
                </a:ext>
              </a:extLst>
            </p:cNvPr>
            <p:cNvSpPr txBox="1"/>
            <p:nvPr/>
          </p:nvSpPr>
          <p:spPr>
            <a:xfrm>
              <a:off x="8282965" y="1514227"/>
              <a:ext cx="2265764" cy="1214948"/>
            </a:xfrm>
            <a:prstGeom prst="rect">
              <a:avLst/>
            </a:prstGeom>
            <a:noFill/>
          </p:spPr>
          <p:txBody>
            <a:bodyPr wrap="square">
              <a:spAutoFit/>
            </a:bodyPr>
            <a:lstStyle>
              <a:lvl1pPr>
                <a:buClr>
                  <a:srgbClr val="0078DC"/>
                </a:buClr>
                <a:buFont typeface="Wingdings" pitchFamily="2" charset="2"/>
                <a:buChar char=""/>
              </a:lvl1pPr>
              <a:lvl2pPr>
                <a:buClr>
                  <a:srgbClr val="0078DC"/>
                </a:buClr>
                <a:buFont typeface="Wingdings" pitchFamily="2" charset="2"/>
                <a:buChar char=""/>
              </a:lvl2pPr>
              <a:lvl3pPr>
                <a:buClr>
                  <a:srgbClr val="0078DC"/>
                </a:buClr>
                <a:buFont typeface="Wingdings" pitchFamily="2" charset="2"/>
                <a:buChar char=""/>
              </a:lvl3pPr>
              <a:lvl4pPr>
                <a:buClr>
                  <a:srgbClr val="0078DC"/>
                </a:buClr>
                <a:buFont typeface="Wingdings" pitchFamily="2" charset="2"/>
                <a:buChar char=""/>
              </a:lvl4pPr>
              <a:lvl5pPr>
                <a:buClr>
                  <a:srgbClr val="0078DC"/>
                </a:buClr>
                <a:buFont typeface="Wingdings" pitchFamily="2" charset="2"/>
                <a:buChar char=""/>
              </a:lvl5pPr>
              <a:lvl6pPr>
                <a:buClr>
                  <a:srgbClr val="0078DC"/>
                </a:buClr>
                <a:buFont typeface="Wingdings" pitchFamily="2" charset="2"/>
                <a:buChar char=""/>
              </a:lvl6pPr>
              <a:lvl7pPr>
                <a:buClr>
                  <a:srgbClr val="0078DC"/>
                </a:buClr>
                <a:buFont typeface="Wingdings" pitchFamily="2" charset="2"/>
                <a:buChar char=""/>
              </a:lvl7pPr>
              <a:lvl8pPr>
                <a:buClr>
                  <a:srgbClr val="0078DC"/>
                </a:buClr>
                <a:buFont typeface="Wingdings" pitchFamily="2" charset="2"/>
                <a:buChar char=""/>
              </a:lvl8pPr>
            </a:lstStyle>
            <a:p>
              <a:pPr marL="128588" indent="-128588">
                <a:spcAft>
                  <a:spcPts val="150"/>
                </a:spcAft>
              </a:pPr>
              <a:r>
                <a:rPr lang="de-DE" altLang="de-DE" sz="1050"/>
                <a:t>Nutzvolumen	                </a:t>
              </a:r>
            </a:p>
            <a:p>
              <a:pPr>
                <a:spcAft>
                  <a:spcPts val="150"/>
                </a:spcAft>
                <a:buNone/>
              </a:pPr>
              <a:r>
                <a:rPr lang="de-DE" altLang="de-DE" sz="1050" b="1"/>
                <a:t>       1,84</a:t>
              </a:r>
              <a:r>
                <a:rPr lang="de-DE" altLang="de-DE" sz="1050"/>
                <a:t> Mm³</a:t>
              </a:r>
            </a:p>
            <a:p>
              <a:pPr marL="114300" indent="-114300">
                <a:tabLst>
                  <a:tab pos="1162646" algn="l"/>
                  <a:tab pos="2625329" algn="l"/>
                  <a:tab pos="3836194" algn="l"/>
                </a:tabLst>
              </a:pPr>
              <a:r>
                <a:rPr lang="de-DE" altLang="de-DE" sz="900" err="1">
                  <a:sym typeface="Wingdings" panose="05000000000000000000" pitchFamily="2" charset="2"/>
                </a:rPr>
                <a:t>zusätzl</a:t>
              </a:r>
              <a:r>
                <a:rPr lang="de-DE" altLang="de-DE" sz="900">
                  <a:sym typeface="Wingdings" panose="05000000000000000000" pitchFamily="2" charset="2"/>
                </a:rPr>
                <a:t>. </a:t>
              </a:r>
              <a:r>
                <a:rPr lang="de-DE" altLang="de-DE" sz="1050">
                  <a:sym typeface="Wingdings" panose="05000000000000000000" pitchFamily="2" charset="2"/>
                </a:rPr>
                <a:t>HWS*-Raum     </a:t>
              </a:r>
            </a:p>
            <a:p>
              <a:pPr>
                <a:buNone/>
                <a:tabLst>
                  <a:tab pos="1162646" algn="l"/>
                  <a:tab pos="2625329" algn="l"/>
                  <a:tab pos="3836194" algn="l"/>
                </a:tabLst>
              </a:pPr>
              <a:r>
                <a:rPr lang="de-DE" altLang="de-DE" sz="1050" b="1">
                  <a:sym typeface="Wingdings" panose="05000000000000000000" pitchFamily="2" charset="2"/>
                </a:rPr>
                <a:t>       1,45 </a:t>
              </a:r>
              <a:r>
                <a:rPr lang="de-DE" altLang="de-DE" sz="1050">
                  <a:sym typeface="Wingdings" panose="05000000000000000000" pitchFamily="2" charset="2"/>
                </a:rPr>
                <a:t>Mm³</a:t>
              </a:r>
            </a:p>
            <a:p>
              <a:pPr marL="114300" indent="-114300">
                <a:tabLst>
                  <a:tab pos="1162646" algn="l"/>
                  <a:tab pos="2625329" algn="l"/>
                  <a:tab pos="3836194" algn="l"/>
                </a:tabLst>
              </a:pPr>
              <a:endParaRPr lang="de-DE" altLang="de-DE" sz="788">
                <a:sym typeface="Wingdings" panose="05000000000000000000" pitchFamily="2" charset="2"/>
              </a:endParaRPr>
            </a:p>
          </p:txBody>
        </p:sp>
        <p:sp>
          <p:nvSpPr>
            <p:cNvPr id="8" name="Textfeld 15">
              <a:extLst>
                <a:ext uri="{FF2B5EF4-FFF2-40B4-BE49-F238E27FC236}">
                  <a16:creationId xmlns:a16="http://schemas.microsoft.com/office/drawing/2014/main" id="{37BAD8C3-4FD9-4A63-9238-5C5171E9294E}"/>
                </a:ext>
              </a:extLst>
            </p:cNvPr>
            <p:cNvSpPr txBox="1"/>
            <p:nvPr/>
          </p:nvSpPr>
          <p:spPr>
            <a:xfrm>
              <a:off x="4728708" y="1519911"/>
              <a:ext cx="2229756" cy="1532984"/>
            </a:xfrm>
            <a:prstGeom prst="rect">
              <a:avLst/>
            </a:prstGeom>
            <a:noFill/>
          </p:spPr>
          <p:txBody>
            <a:bodyPr wrap="square">
              <a:spAutoFit/>
            </a:bodyPr>
            <a:lstStyle>
              <a:lvl1pPr>
                <a:buClr>
                  <a:srgbClr val="0078DC"/>
                </a:buClr>
                <a:buFont typeface="Wingdings" pitchFamily="2" charset="2"/>
                <a:buChar char=""/>
              </a:lvl1pPr>
              <a:lvl2pPr>
                <a:buClr>
                  <a:srgbClr val="0078DC"/>
                </a:buClr>
                <a:buFont typeface="Wingdings" pitchFamily="2" charset="2"/>
                <a:buChar char=""/>
              </a:lvl2pPr>
              <a:lvl3pPr>
                <a:buClr>
                  <a:srgbClr val="0078DC"/>
                </a:buClr>
                <a:buFont typeface="Wingdings" pitchFamily="2" charset="2"/>
                <a:buChar char=""/>
              </a:lvl3pPr>
              <a:lvl4pPr>
                <a:buClr>
                  <a:srgbClr val="0078DC"/>
                </a:buClr>
                <a:buFont typeface="Wingdings" pitchFamily="2" charset="2"/>
                <a:buChar char=""/>
              </a:lvl4pPr>
              <a:lvl5pPr>
                <a:buClr>
                  <a:srgbClr val="0078DC"/>
                </a:buClr>
                <a:buFont typeface="Wingdings" pitchFamily="2" charset="2"/>
                <a:buChar char=""/>
              </a:lvl5pPr>
              <a:lvl6pPr>
                <a:buClr>
                  <a:srgbClr val="0078DC"/>
                </a:buClr>
                <a:buFont typeface="Wingdings" pitchFamily="2" charset="2"/>
                <a:buChar char=""/>
              </a:lvl6pPr>
              <a:lvl7pPr>
                <a:buClr>
                  <a:srgbClr val="0078DC"/>
                </a:buClr>
                <a:buFont typeface="Wingdings" pitchFamily="2" charset="2"/>
                <a:buChar char=""/>
              </a:lvl7pPr>
              <a:lvl8pPr>
                <a:buClr>
                  <a:srgbClr val="0078DC"/>
                </a:buClr>
                <a:buFont typeface="Wingdings" pitchFamily="2" charset="2"/>
                <a:buChar char=""/>
              </a:lvl8pPr>
            </a:lstStyle>
            <a:p>
              <a:pPr marL="128588" indent="-128588">
                <a:spcAft>
                  <a:spcPts val="150"/>
                </a:spcAft>
              </a:pPr>
              <a:r>
                <a:rPr lang="de-DE" altLang="de-DE" sz="1050"/>
                <a:t>Nutzvolumen	                </a:t>
              </a:r>
            </a:p>
            <a:p>
              <a:pPr>
                <a:spcAft>
                  <a:spcPts val="150"/>
                </a:spcAft>
                <a:buNone/>
              </a:pPr>
              <a:r>
                <a:rPr lang="de-DE" altLang="de-DE" sz="1050" b="1"/>
                <a:t>        1,84</a:t>
              </a:r>
              <a:r>
                <a:rPr lang="de-DE" altLang="de-DE" sz="1050"/>
                <a:t> Mm³</a:t>
              </a:r>
            </a:p>
            <a:p>
              <a:pPr>
                <a:spcAft>
                  <a:spcPts val="150"/>
                </a:spcAft>
                <a:buNone/>
              </a:pPr>
              <a:endParaRPr lang="de-DE" altLang="de-DE" sz="1050"/>
            </a:p>
            <a:p>
              <a:pPr marL="128588" indent="-128588">
                <a:spcAft>
                  <a:spcPts val="150"/>
                </a:spcAft>
              </a:pPr>
              <a:r>
                <a:rPr lang="de-DE" altLang="de-DE" sz="1050"/>
                <a:t>Speicherenergie           </a:t>
              </a:r>
            </a:p>
            <a:p>
              <a:pPr>
                <a:spcAft>
                  <a:spcPts val="150"/>
                </a:spcAft>
                <a:buNone/>
              </a:pPr>
              <a:r>
                <a:rPr lang="de-DE" altLang="de-DE" sz="1050" b="1">
                  <a:sym typeface="Wingdings" panose="05000000000000000000" pitchFamily="2" charset="2"/>
                </a:rPr>
                <a:t>        840 </a:t>
              </a:r>
              <a:r>
                <a:rPr lang="de-DE" altLang="de-DE" sz="1050">
                  <a:sym typeface="Wingdings" panose="05000000000000000000" pitchFamily="2" charset="2"/>
                </a:rPr>
                <a:t>MWh</a:t>
              </a:r>
              <a:endParaRPr lang="de-DE" altLang="de-DE" sz="1050"/>
            </a:p>
            <a:p>
              <a:pPr marL="128588" indent="-128588">
                <a:spcAft>
                  <a:spcPts val="450"/>
                </a:spcAft>
              </a:pPr>
              <a:endParaRPr lang="de-DE" sz="788">
                <a:solidFill>
                  <a:srgbClr val="5E5E5E"/>
                </a:solidFill>
              </a:endParaRPr>
            </a:p>
          </p:txBody>
        </p:sp>
        <p:sp>
          <p:nvSpPr>
            <p:cNvPr id="9" name="Rectangle 8">
              <a:extLst>
                <a:ext uri="{FF2B5EF4-FFF2-40B4-BE49-F238E27FC236}">
                  <a16:creationId xmlns:a16="http://schemas.microsoft.com/office/drawing/2014/main" id="{DBEDEA5A-4E21-4FF3-82ED-666C1F56DC6F}"/>
                </a:ext>
              </a:extLst>
            </p:cNvPr>
            <p:cNvSpPr/>
            <p:nvPr/>
          </p:nvSpPr>
          <p:spPr>
            <a:xfrm>
              <a:off x="4728710" y="1164979"/>
              <a:ext cx="3546044" cy="1751278"/>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0" name="TextBox 9">
              <a:extLst>
                <a:ext uri="{FF2B5EF4-FFF2-40B4-BE49-F238E27FC236}">
                  <a16:creationId xmlns:a16="http://schemas.microsoft.com/office/drawing/2014/main" id="{C76304EC-3D72-4E34-BEEF-EC3781FA299C}"/>
                </a:ext>
              </a:extLst>
            </p:cNvPr>
            <p:cNvSpPr txBox="1"/>
            <p:nvPr/>
          </p:nvSpPr>
          <p:spPr>
            <a:xfrm>
              <a:off x="4831796" y="992592"/>
              <a:ext cx="1434293" cy="369332"/>
            </a:xfrm>
            <a:prstGeom prst="rect">
              <a:avLst/>
            </a:prstGeom>
            <a:solidFill>
              <a:schemeClr val="tx2"/>
            </a:solidFill>
          </p:spPr>
          <p:txBody>
            <a:bodyPr wrap="square">
              <a:spAutoFit/>
            </a:bodyPr>
            <a:lstStyle/>
            <a:p>
              <a:r>
                <a:rPr lang="de-DE" sz="1200" b="1">
                  <a:solidFill>
                    <a:schemeClr val="bg2"/>
                  </a:solidFill>
                  <a:highlight>
                    <a:srgbClr val="0078DC"/>
                  </a:highlight>
                  <a:latin typeface="+mj-lt"/>
                </a:rPr>
                <a:t>Oberbecken</a:t>
              </a:r>
              <a:endParaRPr lang="en-US" sz="900"/>
            </a:p>
          </p:txBody>
        </p:sp>
        <p:sp>
          <p:nvSpPr>
            <p:cNvPr id="21" name="Rectangle 20">
              <a:extLst>
                <a:ext uri="{FF2B5EF4-FFF2-40B4-BE49-F238E27FC236}">
                  <a16:creationId xmlns:a16="http://schemas.microsoft.com/office/drawing/2014/main" id="{AE2C2355-5825-4497-A08D-588D5F310159}"/>
                </a:ext>
              </a:extLst>
            </p:cNvPr>
            <p:cNvSpPr/>
            <p:nvPr/>
          </p:nvSpPr>
          <p:spPr>
            <a:xfrm>
              <a:off x="8305626" y="1164980"/>
              <a:ext cx="3686677" cy="1751277"/>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22" name="TextBox 21">
              <a:extLst>
                <a:ext uri="{FF2B5EF4-FFF2-40B4-BE49-F238E27FC236}">
                  <a16:creationId xmlns:a16="http://schemas.microsoft.com/office/drawing/2014/main" id="{A7EA1555-6B1C-4FB6-8DB3-1DAD0F7DA098}"/>
                </a:ext>
              </a:extLst>
            </p:cNvPr>
            <p:cNvSpPr txBox="1"/>
            <p:nvPr/>
          </p:nvSpPr>
          <p:spPr>
            <a:xfrm>
              <a:off x="8377442" y="992592"/>
              <a:ext cx="1551431" cy="369332"/>
            </a:xfrm>
            <a:prstGeom prst="rect">
              <a:avLst/>
            </a:prstGeom>
            <a:solidFill>
              <a:schemeClr val="tx2"/>
            </a:solidFill>
          </p:spPr>
          <p:txBody>
            <a:bodyPr wrap="square">
              <a:spAutoFit/>
            </a:bodyPr>
            <a:lstStyle/>
            <a:p>
              <a:r>
                <a:rPr lang="de-DE" sz="1200" b="1">
                  <a:solidFill>
                    <a:schemeClr val="bg2"/>
                  </a:solidFill>
                  <a:highlight>
                    <a:srgbClr val="0078DC"/>
                  </a:highlight>
                  <a:latin typeface="+mj-lt"/>
                </a:rPr>
                <a:t>Unterbecken</a:t>
              </a:r>
              <a:endParaRPr lang="en-US" sz="900"/>
            </a:p>
          </p:txBody>
        </p:sp>
        <p:pic>
          <p:nvPicPr>
            <p:cNvPr id="25" name="Picture 24">
              <a:extLst>
                <a:ext uri="{FF2B5EF4-FFF2-40B4-BE49-F238E27FC236}">
                  <a16:creationId xmlns:a16="http://schemas.microsoft.com/office/drawing/2014/main" id="{F2354579-6977-445A-9B45-B667F99F80D4}"/>
                </a:ext>
              </a:extLst>
            </p:cNvPr>
            <p:cNvPicPr>
              <a:picLocks noChangeAspect="1"/>
            </p:cNvPicPr>
            <p:nvPr/>
          </p:nvPicPr>
          <p:blipFill>
            <a:blip r:embed="rId7"/>
            <a:stretch>
              <a:fillRect/>
            </a:stretch>
          </p:blipFill>
          <p:spPr>
            <a:xfrm>
              <a:off x="6338288" y="1491240"/>
              <a:ext cx="1904936" cy="1287554"/>
            </a:xfrm>
            <a:prstGeom prst="rect">
              <a:avLst/>
            </a:prstGeom>
          </p:spPr>
        </p:pic>
        <p:pic>
          <p:nvPicPr>
            <p:cNvPr id="7" name="Picture 6">
              <a:extLst>
                <a:ext uri="{FF2B5EF4-FFF2-40B4-BE49-F238E27FC236}">
                  <a16:creationId xmlns:a16="http://schemas.microsoft.com/office/drawing/2014/main" id="{27B4E65A-ACC6-434E-8C9D-EE0D48EC754E}"/>
                </a:ext>
              </a:extLst>
            </p:cNvPr>
            <p:cNvPicPr>
              <a:picLocks noChangeAspect="1"/>
            </p:cNvPicPr>
            <p:nvPr/>
          </p:nvPicPr>
          <p:blipFill>
            <a:blip r:embed="rId8"/>
            <a:stretch>
              <a:fillRect/>
            </a:stretch>
          </p:blipFill>
          <p:spPr>
            <a:xfrm>
              <a:off x="10134631" y="1460577"/>
              <a:ext cx="1828162" cy="1166047"/>
            </a:xfrm>
            <a:prstGeom prst="rect">
              <a:avLst/>
            </a:prstGeom>
          </p:spPr>
        </p:pic>
      </p:grpSp>
      <p:grpSp>
        <p:nvGrpSpPr>
          <p:cNvPr id="82" name="Group 35">
            <a:extLst>
              <a:ext uri="{FF2B5EF4-FFF2-40B4-BE49-F238E27FC236}">
                <a16:creationId xmlns:a16="http://schemas.microsoft.com/office/drawing/2014/main" id="{523FE9E1-5B5C-46AB-A6DA-B05694C55DD0}"/>
              </a:ext>
            </a:extLst>
          </p:cNvPr>
          <p:cNvGrpSpPr/>
          <p:nvPr/>
        </p:nvGrpSpPr>
        <p:grpSpPr>
          <a:xfrm>
            <a:off x="981062" y="722680"/>
            <a:ext cx="1651860" cy="2048691"/>
            <a:chOff x="1435895" y="887513"/>
            <a:chExt cx="1954545" cy="2641443"/>
          </a:xfrm>
        </p:grpSpPr>
        <p:grpSp>
          <p:nvGrpSpPr>
            <p:cNvPr id="83" name="Gruppieren 26">
              <a:extLst>
                <a:ext uri="{FF2B5EF4-FFF2-40B4-BE49-F238E27FC236}">
                  <a16:creationId xmlns:a16="http://schemas.microsoft.com/office/drawing/2014/main" id="{1E4D44BC-9F61-4FE2-B6BA-E56C7B294139}"/>
                </a:ext>
              </a:extLst>
            </p:cNvPr>
            <p:cNvGrpSpPr>
              <a:grpSpLocks noChangeAspect="1"/>
            </p:cNvGrpSpPr>
            <p:nvPr/>
          </p:nvGrpSpPr>
          <p:grpSpPr bwMode="auto">
            <a:xfrm>
              <a:off x="1435895" y="887513"/>
              <a:ext cx="1954545" cy="2641443"/>
              <a:chOff x="2697479" y="1331975"/>
              <a:chExt cx="3536417" cy="4779229"/>
            </a:xfrm>
          </p:grpSpPr>
          <p:sp>
            <p:nvSpPr>
              <p:cNvPr id="86" name="Freeform 5">
                <a:extLst>
                  <a:ext uri="{FF2B5EF4-FFF2-40B4-BE49-F238E27FC236}">
                    <a16:creationId xmlns:a16="http://schemas.microsoft.com/office/drawing/2014/main" id="{32FAB146-A735-4C09-A13F-D3E685BBCB61}"/>
                  </a:ext>
                </a:extLst>
              </p:cNvPr>
              <p:cNvSpPr>
                <a:spLocks/>
              </p:cNvSpPr>
              <p:nvPr/>
            </p:nvSpPr>
            <p:spPr bwMode="gray">
              <a:xfrm>
                <a:off x="2996181" y="2044948"/>
                <a:ext cx="1820659" cy="1603744"/>
              </a:xfrm>
              <a:custGeom>
                <a:avLst/>
                <a:gdLst>
                  <a:gd name="T0" fmla="*/ 1601966 w 1024"/>
                  <a:gd name="T1" fmla="*/ 805428 h 902"/>
                  <a:gd name="T2" fmla="*/ 1635748 w 1024"/>
                  <a:gd name="T3" fmla="*/ 908551 h 902"/>
                  <a:gd name="T4" fmla="*/ 1475729 w 1024"/>
                  <a:gd name="T5" fmla="*/ 1132578 h 902"/>
                  <a:gd name="T6" fmla="*/ 1488175 w 1024"/>
                  <a:gd name="T7" fmla="*/ 1246369 h 902"/>
                  <a:gd name="T8" fmla="*/ 1536181 w 1024"/>
                  <a:gd name="T9" fmla="*/ 1354826 h 902"/>
                  <a:gd name="T10" fmla="*/ 1417056 w 1024"/>
                  <a:gd name="T11" fmla="*/ 1406388 h 902"/>
                  <a:gd name="T12" fmla="*/ 1200141 w 1024"/>
                  <a:gd name="T13" fmla="*/ 1518401 h 902"/>
                  <a:gd name="T14" fmla="*/ 1095240 w 1024"/>
                  <a:gd name="T15" fmla="*/ 1580630 h 902"/>
                  <a:gd name="T16" fmla="*/ 1129022 w 1024"/>
                  <a:gd name="T17" fmla="*/ 1393942 h 902"/>
                  <a:gd name="T18" fmla="*/ 1045456 w 1024"/>
                  <a:gd name="T19" fmla="*/ 1255259 h 902"/>
                  <a:gd name="T20" fmla="*/ 862324 w 1024"/>
                  <a:gd name="T21" fmla="*/ 995673 h 902"/>
                  <a:gd name="T22" fmla="*/ 883659 w 1024"/>
                  <a:gd name="T23" fmla="*/ 867657 h 902"/>
                  <a:gd name="T24" fmla="*/ 755644 w 1024"/>
                  <a:gd name="T25" fmla="*/ 910329 h 902"/>
                  <a:gd name="T26" fmla="*/ 737865 w 1024"/>
                  <a:gd name="T27" fmla="*/ 839210 h 902"/>
                  <a:gd name="T28" fmla="*/ 684525 w 1024"/>
                  <a:gd name="T29" fmla="*/ 1063236 h 902"/>
                  <a:gd name="T30" fmla="*/ 599182 w 1024"/>
                  <a:gd name="T31" fmla="*/ 1084572 h 902"/>
                  <a:gd name="T32" fmla="*/ 433829 w 1024"/>
                  <a:gd name="T33" fmla="*/ 1114798 h 902"/>
                  <a:gd name="T34" fmla="*/ 496058 w 1024"/>
                  <a:gd name="T35" fmla="*/ 1065014 h 902"/>
                  <a:gd name="T36" fmla="*/ 480057 w 1024"/>
                  <a:gd name="T37" fmla="*/ 956557 h 902"/>
                  <a:gd name="T38" fmla="*/ 339596 w 1024"/>
                  <a:gd name="T39" fmla="*/ 885437 h 902"/>
                  <a:gd name="T40" fmla="*/ 234694 w 1024"/>
                  <a:gd name="T41" fmla="*/ 1015231 h 902"/>
                  <a:gd name="T42" fmla="*/ 122681 w 1024"/>
                  <a:gd name="T43" fmla="*/ 988561 h 902"/>
                  <a:gd name="T44" fmla="*/ 117347 w 1024"/>
                  <a:gd name="T45" fmla="*/ 888993 h 902"/>
                  <a:gd name="T46" fmla="*/ 0 w 1024"/>
                  <a:gd name="T47" fmla="*/ 872991 h 902"/>
                  <a:gd name="T48" fmla="*/ 133349 w 1024"/>
                  <a:gd name="T49" fmla="*/ 773424 h 902"/>
                  <a:gd name="T50" fmla="*/ 195579 w 1024"/>
                  <a:gd name="T51" fmla="*/ 366265 h 902"/>
                  <a:gd name="T52" fmla="*/ 211580 w 1024"/>
                  <a:gd name="T53" fmla="*/ 359153 h 902"/>
                  <a:gd name="T54" fmla="*/ 112013 w 1024"/>
                  <a:gd name="T55" fmla="*/ 257808 h 902"/>
                  <a:gd name="T56" fmla="*/ 160019 w 1024"/>
                  <a:gd name="T57" fmla="*/ 245362 h 902"/>
                  <a:gd name="T58" fmla="*/ 161797 w 1024"/>
                  <a:gd name="T59" fmla="*/ 220470 h 902"/>
                  <a:gd name="T60" fmla="*/ 163575 w 1024"/>
                  <a:gd name="T61" fmla="*/ 168909 h 902"/>
                  <a:gd name="T62" fmla="*/ 464055 w 1024"/>
                  <a:gd name="T63" fmla="*/ 117347 h 902"/>
                  <a:gd name="T64" fmla="*/ 487169 w 1024"/>
                  <a:gd name="T65" fmla="*/ 152907 h 902"/>
                  <a:gd name="T66" fmla="*/ 497836 w 1024"/>
                  <a:gd name="T67" fmla="*/ 243584 h 902"/>
                  <a:gd name="T68" fmla="*/ 540508 w 1024"/>
                  <a:gd name="T69" fmla="*/ 307592 h 902"/>
                  <a:gd name="T70" fmla="*/ 588514 w 1024"/>
                  <a:gd name="T71" fmla="*/ 247140 h 902"/>
                  <a:gd name="T72" fmla="*/ 567178 w 1024"/>
                  <a:gd name="T73" fmla="*/ 177799 h 902"/>
                  <a:gd name="T74" fmla="*/ 668523 w 1024"/>
                  <a:gd name="T75" fmla="*/ 224026 h 902"/>
                  <a:gd name="T76" fmla="*/ 688081 w 1024"/>
                  <a:gd name="T77" fmla="*/ 270254 h 902"/>
                  <a:gd name="T78" fmla="*/ 723641 w 1024"/>
                  <a:gd name="T79" fmla="*/ 250696 h 902"/>
                  <a:gd name="T80" fmla="*/ 670301 w 1024"/>
                  <a:gd name="T81" fmla="*/ 200912 h 902"/>
                  <a:gd name="T82" fmla="*/ 702305 w 1024"/>
                  <a:gd name="T83" fmla="*/ 7112 h 902"/>
                  <a:gd name="T84" fmla="*/ 752088 w 1024"/>
                  <a:gd name="T85" fmla="*/ 30226 h 902"/>
                  <a:gd name="T86" fmla="*/ 949445 w 1024"/>
                  <a:gd name="T87" fmla="*/ 40894 h 902"/>
                  <a:gd name="T88" fmla="*/ 1171694 w 1024"/>
                  <a:gd name="T89" fmla="*/ 270254 h 902"/>
                  <a:gd name="T90" fmla="*/ 1237479 w 1024"/>
                  <a:gd name="T91" fmla="*/ 261364 h 902"/>
                  <a:gd name="T92" fmla="*/ 1285485 w 1024"/>
                  <a:gd name="T93" fmla="*/ 286256 h 902"/>
                  <a:gd name="T94" fmla="*/ 1324600 w 1024"/>
                  <a:gd name="T95" fmla="*/ 268476 h 902"/>
                  <a:gd name="T96" fmla="*/ 1363716 w 1024"/>
                  <a:gd name="T97" fmla="*/ 282700 h 902"/>
                  <a:gd name="T98" fmla="*/ 1424168 w 1024"/>
                  <a:gd name="T99" fmla="*/ 314704 h 902"/>
                  <a:gd name="T100" fmla="*/ 1452615 w 1024"/>
                  <a:gd name="T101" fmla="*/ 305814 h 902"/>
                  <a:gd name="T102" fmla="*/ 1580630 w 1024"/>
                  <a:gd name="T103" fmla="*/ 307592 h 902"/>
                  <a:gd name="T104" fmla="*/ 1639304 w 1024"/>
                  <a:gd name="T105" fmla="*/ 428495 h 902"/>
                  <a:gd name="T106" fmla="*/ 1820659 w 1024"/>
                  <a:gd name="T107" fmla="*/ 492502 h 902"/>
                  <a:gd name="T108" fmla="*/ 1603744 w 1024"/>
                  <a:gd name="T109" fmla="*/ 568956 h 902"/>
                  <a:gd name="T110" fmla="*/ 1518401 w 1024"/>
                  <a:gd name="T111" fmla="*/ 650743 h 9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24"/>
                  <a:gd name="T169" fmla="*/ 0 h 902"/>
                  <a:gd name="T170" fmla="*/ 1024 w 1024"/>
                  <a:gd name="T171" fmla="*/ 902 h 90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24" h="902">
                    <a:moveTo>
                      <a:pt x="854" y="366"/>
                    </a:moveTo>
                    <a:lnTo>
                      <a:pt x="901" y="453"/>
                    </a:lnTo>
                    <a:lnTo>
                      <a:pt x="899" y="484"/>
                    </a:lnTo>
                    <a:lnTo>
                      <a:pt x="920" y="511"/>
                    </a:lnTo>
                    <a:lnTo>
                      <a:pt x="924" y="596"/>
                    </a:lnTo>
                    <a:lnTo>
                      <a:pt x="830" y="637"/>
                    </a:lnTo>
                    <a:lnTo>
                      <a:pt x="848" y="685"/>
                    </a:lnTo>
                    <a:lnTo>
                      <a:pt x="837" y="701"/>
                    </a:lnTo>
                    <a:lnTo>
                      <a:pt x="840" y="725"/>
                    </a:lnTo>
                    <a:lnTo>
                      <a:pt x="864" y="762"/>
                    </a:lnTo>
                    <a:lnTo>
                      <a:pt x="837" y="796"/>
                    </a:lnTo>
                    <a:lnTo>
                      <a:pt x="797" y="791"/>
                    </a:lnTo>
                    <a:lnTo>
                      <a:pt x="702" y="871"/>
                    </a:lnTo>
                    <a:lnTo>
                      <a:pt x="675" y="854"/>
                    </a:lnTo>
                    <a:lnTo>
                      <a:pt x="647" y="902"/>
                    </a:lnTo>
                    <a:lnTo>
                      <a:pt x="616" y="889"/>
                    </a:lnTo>
                    <a:lnTo>
                      <a:pt x="643" y="810"/>
                    </a:lnTo>
                    <a:lnTo>
                      <a:pt x="635" y="784"/>
                    </a:lnTo>
                    <a:lnTo>
                      <a:pt x="585" y="785"/>
                    </a:lnTo>
                    <a:lnTo>
                      <a:pt x="588" y="706"/>
                    </a:lnTo>
                    <a:lnTo>
                      <a:pt x="567" y="705"/>
                    </a:lnTo>
                    <a:lnTo>
                      <a:pt x="485" y="560"/>
                    </a:lnTo>
                    <a:lnTo>
                      <a:pt x="517" y="513"/>
                    </a:lnTo>
                    <a:lnTo>
                      <a:pt x="497" y="488"/>
                    </a:lnTo>
                    <a:lnTo>
                      <a:pt x="483" y="513"/>
                    </a:lnTo>
                    <a:lnTo>
                      <a:pt x="425" y="512"/>
                    </a:lnTo>
                    <a:lnTo>
                      <a:pt x="425" y="481"/>
                    </a:lnTo>
                    <a:lnTo>
                      <a:pt x="415" y="472"/>
                    </a:lnTo>
                    <a:lnTo>
                      <a:pt x="337" y="502"/>
                    </a:lnTo>
                    <a:lnTo>
                      <a:pt x="385" y="598"/>
                    </a:lnTo>
                    <a:lnTo>
                      <a:pt x="365" y="617"/>
                    </a:lnTo>
                    <a:lnTo>
                      <a:pt x="337" y="610"/>
                    </a:lnTo>
                    <a:lnTo>
                      <a:pt x="280" y="650"/>
                    </a:lnTo>
                    <a:lnTo>
                      <a:pt x="244" y="627"/>
                    </a:lnTo>
                    <a:lnTo>
                      <a:pt x="275" y="614"/>
                    </a:lnTo>
                    <a:lnTo>
                      <a:pt x="279" y="599"/>
                    </a:lnTo>
                    <a:lnTo>
                      <a:pt x="256" y="592"/>
                    </a:lnTo>
                    <a:lnTo>
                      <a:pt x="270" y="538"/>
                    </a:lnTo>
                    <a:lnTo>
                      <a:pt x="214" y="500"/>
                    </a:lnTo>
                    <a:lnTo>
                      <a:pt x="191" y="498"/>
                    </a:lnTo>
                    <a:lnTo>
                      <a:pt x="184" y="534"/>
                    </a:lnTo>
                    <a:lnTo>
                      <a:pt x="132" y="571"/>
                    </a:lnTo>
                    <a:lnTo>
                      <a:pt x="83" y="576"/>
                    </a:lnTo>
                    <a:lnTo>
                      <a:pt x="69" y="556"/>
                    </a:lnTo>
                    <a:lnTo>
                      <a:pt x="88" y="533"/>
                    </a:lnTo>
                    <a:lnTo>
                      <a:pt x="66" y="500"/>
                    </a:lnTo>
                    <a:lnTo>
                      <a:pt x="55" y="509"/>
                    </a:lnTo>
                    <a:lnTo>
                      <a:pt x="0" y="491"/>
                    </a:lnTo>
                    <a:lnTo>
                      <a:pt x="14" y="438"/>
                    </a:lnTo>
                    <a:lnTo>
                      <a:pt x="75" y="435"/>
                    </a:lnTo>
                    <a:lnTo>
                      <a:pt x="83" y="367"/>
                    </a:lnTo>
                    <a:lnTo>
                      <a:pt x="110" y="206"/>
                    </a:lnTo>
                    <a:lnTo>
                      <a:pt x="136" y="213"/>
                    </a:lnTo>
                    <a:lnTo>
                      <a:pt x="119" y="202"/>
                    </a:lnTo>
                    <a:lnTo>
                      <a:pt x="64" y="195"/>
                    </a:lnTo>
                    <a:lnTo>
                      <a:pt x="63" y="145"/>
                    </a:lnTo>
                    <a:lnTo>
                      <a:pt x="72" y="133"/>
                    </a:lnTo>
                    <a:lnTo>
                      <a:pt x="90" y="138"/>
                    </a:lnTo>
                    <a:lnTo>
                      <a:pt x="94" y="130"/>
                    </a:lnTo>
                    <a:lnTo>
                      <a:pt x="91" y="124"/>
                    </a:lnTo>
                    <a:lnTo>
                      <a:pt x="77" y="115"/>
                    </a:lnTo>
                    <a:lnTo>
                      <a:pt x="92" y="95"/>
                    </a:lnTo>
                    <a:lnTo>
                      <a:pt x="118" y="80"/>
                    </a:lnTo>
                    <a:lnTo>
                      <a:pt x="261" y="66"/>
                    </a:lnTo>
                    <a:lnTo>
                      <a:pt x="275" y="75"/>
                    </a:lnTo>
                    <a:lnTo>
                      <a:pt x="274" y="86"/>
                    </a:lnTo>
                    <a:lnTo>
                      <a:pt x="299" y="130"/>
                    </a:lnTo>
                    <a:lnTo>
                      <a:pt x="280" y="137"/>
                    </a:lnTo>
                    <a:lnTo>
                      <a:pt x="280" y="148"/>
                    </a:lnTo>
                    <a:lnTo>
                      <a:pt x="304" y="173"/>
                    </a:lnTo>
                    <a:lnTo>
                      <a:pt x="321" y="175"/>
                    </a:lnTo>
                    <a:lnTo>
                      <a:pt x="331" y="139"/>
                    </a:lnTo>
                    <a:lnTo>
                      <a:pt x="310" y="131"/>
                    </a:lnTo>
                    <a:lnTo>
                      <a:pt x="319" y="100"/>
                    </a:lnTo>
                    <a:lnTo>
                      <a:pt x="328" y="97"/>
                    </a:lnTo>
                    <a:lnTo>
                      <a:pt x="376" y="126"/>
                    </a:lnTo>
                    <a:lnTo>
                      <a:pt x="380" y="136"/>
                    </a:lnTo>
                    <a:lnTo>
                      <a:pt x="387" y="152"/>
                    </a:lnTo>
                    <a:lnTo>
                      <a:pt x="402" y="155"/>
                    </a:lnTo>
                    <a:lnTo>
                      <a:pt x="407" y="141"/>
                    </a:lnTo>
                    <a:lnTo>
                      <a:pt x="400" y="112"/>
                    </a:lnTo>
                    <a:lnTo>
                      <a:pt x="377" y="113"/>
                    </a:lnTo>
                    <a:lnTo>
                      <a:pt x="364" y="75"/>
                    </a:lnTo>
                    <a:lnTo>
                      <a:pt x="395" y="4"/>
                    </a:lnTo>
                    <a:lnTo>
                      <a:pt x="412" y="0"/>
                    </a:lnTo>
                    <a:lnTo>
                      <a:pt x="423" y="17"/>
                    </a:lnTo>
                    <a:lnTo>
                      <a:pt x="484" y="11"/>
                    </a:lnTo>
                    <a:lnTo>
                      <a:pt x="534" y="23"/>
                    </a:lnTo>
                    <a:lnTo>
                      <a:pt x="633" y="124"/>
                    </a:lnTo>
                    <a:lnTo>
                      <a:pt x="659" y="152"/>
                    </a:lnTo>
                    <a:lnTo>
                      <a:pt x="690" y="153"/>
                    </a:lnTo>
                    <a:lnTo>
                      <a:pt x="696" y="147"/>
                    </a:lnTo>
                    <a:lnTo>
                      <a:pt x="709" y="146"/>
                    </a:lnTo>
                    <a:lnTo>
                      <a:pt x="723" y="161"/>
                    </a:lnTo>
                    <a:lnTo>
                      <a:pt x="730" y="161"/>
                    </a:lnTo>
                    <a:lnTo>
                      <a:pt x="745" y="151"/>
                    </a:lnTo>
                    <a:lnTo>
                      <a:pt x="756" y="150"/>
                    </a:lnTo>
                    <a:lnTo>
                      <a:pt x="767" y="159"/>
                    </a:lnTo>
                    <a:lnTo>
                      <a:pt x="792" y="166"/>
                    </a:lnTo>
                    <a:lnTo>
                      <a:pt x="801" y="177"/>
                    </a:lnTo>
                    <a:lnTo>
                      <a:pt x="808" y="178"/>
                    </a:lnTo>
                    <a:lnTo>
                      <a:pt x="817" y="172"/>
                    </a:lnTo>
                    <a:lnTo>
                      <a:pt x="866" y="182"/>
                    </a:lnTo>
                    <a:lnTo>
                      <a:pt x="889" y="173"/>
                    </a:lnTo>
                    <a:lnTo>
                      <a:pt x="930" y="222"/>
                    </a:lnTo>
                    <a:lnTo>
                      <a:pt x="922" y="241"/>
                    </a:lnTo>
                    <a:lnTo>
                      <a:pt x="956" y="264"/>
                    </a:lnTo>
                    <a:lnTo>
                      <a:pt x="1024" y="277"/>
                    </a:lnTo>
                    <a:lnTo>
                      <a:pt x="973" y="328"/>
                    </a:lnTo>
                    <a:lnTo>
                      <a:pt x="902" y="320"/>
                    </a:lnTo>
                    <a:lnTo>
                      <a:pt x="862" y="344"/>
                    </a:lnTo>
                    <a:lnTo>
                      <a:pt x="854" y="366"/>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87" name="Freeform 6">
                <a:extLst>
                  <a:ext uri="{FF2B5EF4-FFF2-40B4-BE49-F238E27FC236}">
                    <a16:creationId xmlns:a16="http://schemas.microsoft.com/office/drawing/2014/main" id="{724E6023-3C7D-4518-917E-62766F71EE23}"/>
                  </a:ext>
                </a:extLst>
              </p:cNvPr>
              <p:cNvSpPr>
                <a:spLocks/>
              </p:cNvSpPr>
              <p:nvPr/>
            </p:nvSpPr>
            <p:spPr bwMode="gray">
              <a:xfrm>
                <a:off x="4695937" y="2148071"/>
                <a:ext cx="1393942" cy="1347714"/>
              </a:xfrm>
              <a:custGeom>
                <a:avLst/>
                <a:gdLst>
                  <a:gd name="T0" fmla="*/ 1168138 w 784"/>
                  <a:gd name="T1" fmla="*/ 99567 h 758"/>
                  <a:gd name="T2" fmla="*/ 1143246 w 784"/>
                  <a:gd name="T3" fmla="*/ 202690 h 758"/>
                  <a:gd name="T4" fmla="*/ 1109464 w 784"/>
                  <a:gd name="T5" fmla="*/ 337817 h 758"/>
                  <a:gd name="T6" fmla="*/ 1070348 w 784"/>
                  <a:gd name="T7" fmla="*/ 432051 h 758"/>
                  <a:gd name="T8" fmla="*/ 1210809 w 784"/>
                  <a:gd name="T9" fmla="*/ 536952 h 758"/>
                  <a:gd name="T10" fmla="*/ 1276595 w 784"/>
                  <a:gd name="T11" fmla="*/ 579624 h 758"/>
                  <a:gd name="T12" fmla="*/ 1249925 w 784"/>
                  <a:gd name="T13" fmla="*/ 711195 h 758"/>
                  <a:gd name="T14" fmla="*/ 1321045 w 784"/>
                  <a:gd name="T15" fmla="*/ 792982 h 758"/>
                  <a:gd name="T16" fmla="*/ 1344158 w 784"/>
                  <a:gd name="T17" fmla="*/ 993895 h 758"/>
                  <a:gd name="T18" fmla="*/ 1313933 w 784"/>
                  <a:gd name="T19" fmla="*/ 1049012 h 758"/>
                  <a:gd name="T20" fmla="*/ 1385052 w 784"/>
                  <a:gd name="T21" fmla="*/ 1168137 h 758"/>
                  <a:gd name="T22" fmla="*/ 1223255 w 784"/>
                  <a:gd name="T23" fmla="*/ 1241035 h 758"/>
                  <a:gd name="T24" fmla="*/ 1116576 w 784"/>
                  <a:gd name="T25" fmla="*/ 1276595 h 758"/>
                  <a:gd name="T26" fmla="*/ 954779 w 784"/>
                  <a:gd name="T27" fmla="*/ 1340602 h 758"/>
                  <a:gd name="T28" fmla="*/ 837432 w 784"/>
                  <a:gd name="T29" fmla="*/ 1315710 h 758"/>
                  <a:gd name="T30" fmla="*/ 798316 w 784"/>
                  <a:gd name="T31" fmla="*/ 1340602 h 758"/>
                  <a:gd name="T32" fmla="*/ 796538 w 784"/>
                  <a:gd name="T33" fmla="*/ 1280151 h 758"/>
                  <a:gd name="T34" fmla="*/ 730753 w 784"/>
                  <a:gd name="T35" fmla="*/ 1187695 h 758"/>
                  <a:gd name="T36" fmla="*/ 739643 w 784"/>
                  <a:gd name="T37" fmla="*/ 1063236 h 758"/>
                  <a:gd name="T38" fmla="*/ 535174 w 784"/>
                  <a:gd name="T39" fmla="*/ 993895 h 758"/>
                  <a:gd name="T40" fmla="*/ 394713 w 784"/>
                  <a:gd name="T41" fmla="*/ 885437 h 758"/>
                  <a:gd name="T42" fmla="*/ 348486 w 784"/>
                  <a:gd name="T43" fmla="*/ 682747 h 758"/>
                  <a:gd name="T44" fmla="*/ 369821 w 784"/>
                  <a:gd name="T45" fmla="*/ 606294 h 758"/>
                  <a:gd name="T46" fmla="*/ 375155 w 784"/>
                  <a:gd name="T47" fmla="*/ 483612 h 758"/>
                  <a:gd name="T48" fmla="*/ 264920 w 784"/>
                  <a:gd name="T49" fmla="*/ 476501 h 758"/>
                  <a:gd name="T50" fmla="*/ 0 w 784"/>
                  <a:gd name="T51" fmla="*/ 366265 h 758"/>
                  <a:gd name="T52" fmla="*/ 85343 w 784"/>
                  <a:gd name="T53" fmla="*/ 339595 h 758"/>
                  <a:gd name="T54" fmla="*/ 88899 w 784"/>
                  <a:gd name="T55" fmla="*/ 270254 h 758"/>
                  <a:gd name="T56" fmla="*/ 160019 w 784"/>
                  <a:gd name="T57" fmla="*/ 263142 h 758"/>
                  <a:gd name="T58" fmla="*/ 275588 w 784"/>
                  <a:gd name="T59" fmla="*/ 160019 h 758"/>
                  <a:gd name="T60" fmla="*/ 417827 w 784"/>
                  <a:gd name="T61" fmla="*/ 224026 h 758"/>
                  <a:gd name="T62" fmla="*/ 529840 w 784"/>
                  <a:gd name="T63" fmla="*/ 232916 h 758"/>
                  <a:gd name="T64" fmla="*/ 620518 w 784"/>
                  <a:gd name="T65" fmla="*/ 259586 h 758"/>
                  <a:gd name="T66" fmla="*/ 730753 w 784"/>
                  <a:gd name="T67" fmla="*/ 176021 h 758"/>
                  <a:gd name="T68" fmla="*/ 810762 w 784"/>
                  <a:gd name="T69" fmla="*/ 144017 h 758"/>
                  <a:gd name="T70" fmla="*/ 860546 w 784"/>
                  <a:gd name="T71" fmla="*/ 44450 h 758"/>
                  <a:gd name="T72" fmla="*/ 901439 w 784"/>
                  <a:gd name="T73" fmla="*/ 3556 h 758"/>
                  <a:gd name="T74" fmla="*/ 904995 w 784"/>
                  <a:gd name="T75" fmla="*/ 0 h 758"/>
                  <a:gd name="T76" fmla="*/ 917442 w 784"/>
                  <a:gd name="T77" fmla="*/ 10668 h 758"/>
                  <a:gd name="T78" fmla="*/ 963669 w 784"/>
                  <a:gd name="T79" fmla="*/ 65786 h 758"/>
                  <a:gd name="T80" fmla="*/ 1063236 w 784"/>
                  <a:gd name="T81" fmla="*/ 48006 h 758"/>
                  <a:gd name="T82" fmla="*/ 1034789 w 784"/>
                  <a:gd name="T83" fmla="*/ 128015 h 758"/>
                  <a:gd name="T84" fmla="*/ 1098796 w 784"/>
                  <a:gd name="T85" fmla="*/ 147573 h 7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84"/>
                  <a:gd name="T130" fmla="*/ 0 h 758"/>
                  <a:gd name="T131" fmla="*/ 784 w 784"/>
                  <a:gd name="T132" fmla="*/ 758 h 7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84" h="758">
                    <a:moveTo>
                      <a:pt x="625" y="68"/>
                    </a:moveTo>
                    <a:lnTo>
                      <a:pt x="657" y="56"/>
                    </a:lnTo>
                    <a:lnTo>
                      <a:pt x="663" y="72"/>
                    </a:lnTo>
                    <a:lnTo>
                      <a:pt x="643" y="114"/>
                    </a:lnTo>
                    <a:lnTo>
                      <a:pt x="651" y="139"/>
                    </a:lnTo>
                    <a:lnTo>
                      <a:pt x="624" y="190"/>
                    </a:lnTo>
                    <a:lnTo>
                      <a:pt x="598" y="207"/>
                    </a:lnTo>
                    <a:lnTo>
                      <a:pt x="602" y="243"/>
                    </a:lnTo>
                    <a:lnTo>
                      <a:pt x="646" y="265"/>
                    </a:lnTo>
                    <a:lnTo>
                      <a:pt x="681" y="302"/>
                    </a:lnTo>
                    <a:lnTo>
                      <a:pt x="697" y="306"/>
                    </a:lnTo>
                    <a:lnTo>
                      <a:pt x="718" y="326"/>
                    </a:lnTo>
                    <a:lnTo>
                      <a:pt x="721" y="356"/>
                    </a:lnTo>
                    <a:lnTo>
                      <a:pt x="703" y="400"/>
                    </a:lnTo>
                    <a:lnTo>
                      <a:pt x="718" y="433"/>
                    </a:lnTo>
                    <a:lnTo>
                      <a:pt x="743" y="446"/>
                    </a:lnTo>
                    <a:lnTo>
                      <a:pt x="761" y="500"/>
                    </a:lnTo>
                    <a:lnTo>
                      <a:pt x="756" y="559"/>
                    </a:lnTo>
                    <a:lnTo>
                      <a:pt x="742" y="575"/>
                    </a:lnTo>
                    <a:lnTo>
                      <a:pt x="739" y="590"/>
                    </a:lnTo>
                    <a:lnTo>
                      <a:pt x="784" y="653"/>
                    </a:lnTo>
                    <a:lnTo>
                      <a:pt x="779" y="657"/>
                    </a:lnTo>
                    <a:lnTo>
                      <a:pt x="712" y="672"/>
                    </a:lnTo>
                    <a:lnTo>
                      <a:pt x="688" y="698"/>
                    </a:lnTo>
                    <a:lnTo>
                      <a:pt x="646" y="688"/>
                    </a:lnTo>
                    <a:lnTo>
                      <a:pt x="628" y="718"/>
                    </a:lnTo>
                    <a:lnTo>
                      <a:pt x="623" y="745"/>
                    </a:lnTo>
                    <a:lnTo>
                      <a:pt x="537" y="754"/>
                    </a:lnTo>
                    <a:lnTo>
                      <a:pt x="480" y="735"/>
                    </a:lnTo>
                    <a:lnTo>
                      <a:pt x="471" y="740"/>
                    </a:lnTo>
                    <a:lnTo>
                      <a:pt x="462" y="758"/>
                    </a:lnTo>
                    <a:lnTo>
                      <a:pt x="449" y="754"/>
                    </a:lnTo>
                    <a:lnTo>
                      <a:pt x="442" y="727"/>
                    </a:lnTo>
                    <a:lnTo>
                      <a:pt x="448" y="720"/>
                    </a:lnTo>
                    <a:lnTo>
                      <a:pt x="444" y="699"/>
                    </a:lnTo>
                    <a:lnTo>
                      <a:pt x="411" y="668"/>
                    </a:lnTo>
                    <a:lnTo>
                      <a:pt x="435" y="643"/>
                    </a:lnTo>
                    <a:lnTo>
                      <a:pt x="416" y="598"/>
                    </a:lnTo>
                    <a:lnTo>
                      <a:pt x="319" y="547"/>
                    </a:lnTo>
                    <a:lnTo>
                      <a:pt x="301" y="559"/>
                    </a:lnTo>
                    <a:lnTo>
                      <a:pt x="265" y="550"/>
                    </a:lnTo>
                    <a:lnTo>
                      <a:pt x="222" y="498"/>
                    </a:lnTo>
                    <a:lnTo>
                      <a:pt x="235" y="394"/>
                    </a:lnTo>
                    <a:lnTo>
                      <a:pt x="196" y="384"/>
                    </a:lnTo>
                    <a:lnTo>
                      <a:pt x="197" y="350"/>
                    </a:lnTo>
                    <a:lnTo>
                      <a:pt x="208" y="341"/>
                    </a:lnTo>
                    <a:lnTo>
                      <a:pt x="202" y="294"/>
                    </a:lnTo>
                    <a:lnTo>
                      <a:pt x="211" y="272"/>
                    </a:lnTo>
                    <a:lnTo>
                      <a:pt x="195" y="255"/>
                    </a:lnTo>
                    <a:lnTo>
                      <a:pt x="149" y="268"/>
                    </a:lnTo>
                    <a:lnTo>
                      <a:pt x="68" y="219"/>
                    </a:lnTo>
                    <a:lnTo>
                      <a:pt x="0" y="206"/>
                    </a:lnTo>
                    <a:lnTo>
                      <a:pt x="30" y="182"/>
                    </a:lnTo>
                    <a:lnTo>
                      <a:pt x="48" y="191"/>
                    </a:lnTo>
                    <a:lnTo>
                      <a:pt x="57" y="180"/>
                    </a:lnTo>
                    <a:lnTo>
                      <a:pt x="50" y="152"/>
                    </a:lnTo>
                    <a:lnTo>
                      <a:pt x="68" y="139"/>
                    </a:lnTo>
                    <a:lnTo>
                      <a:pt x="90" y="148"/>
                    </a:lnTo>
                    <a:lnTo>
                      <a:pt x="140" y="123"/>
                    </a:lnTo>
                    <a:lnTo>
                      <a:pt x="155" y="90"/>
                    </a:lnTo>
                    <a:lnTo>
                      <a:pt x="214" y="104"/>
                    </a:lnTo>
                    <a:lnTo>
                      <a:pt x="235" y="126"/>
                    </a:lnTo>
                    <a:lnTo>
                      <a:pt x="276" y="121"/>
                    </a:lnTo>
                    <a:lnTo>
                      <a:pt x="298" y="131"/>
                    </a:lnTo>
                    <a:lnTo>
                      <a:pt x="302" y="141"/>
                    </a:lnTo>
                    <a:lnTo>
                      <a:pt x="349" y="146"/>
                    </a:lnTo>
                    <a:lnTo>
                      <a:pt x="363" y="123"/>
                    </a:lnTo>
                    <a:lnTo>
                      <a:pt x="411" y="99"/>
                    </a:lnTo>
                    <a:lnTo>
                      <a:pt x="429" y="110"/>
                    </a:lnTo>
                    <a:lnTo>
                      <a:pt x="456" y="81"/>
                    </a:lnTo>
                    <a:lnTo>
                      <a:pt x="460" y="50"/>
                    </a:lnTo>
                    <a:lnTo>
                      <a:pt x="484" y="25"/>
                    </a:lnTo>
                    <a:lnTo>
                      <a:pt x="501" y="8"/>
                    </a:lnTo>
                    <a:lnTo>
                      <a:pt x="507" y="2"/>
                    </a:lnTo>
                    <a:lnTo>
                      <a:pt x="509" y="0"/>
                    </a:lnTo>
                    <a:lnTo>
                      <a:pt x="509" y="1"/>
                    </a:lnTo>
                    <a:lnTo>
                      <a:pt x="516" y="6"/>
                    </a:lnTo>
                    <a:lnTo>
                      <a:pt x="527" y="19"/>
                    </a:lnTo>
                    <a:lnTo>
                      <a:pt x="542" y="37"/>
                    </a:lnTo>
                    <a:lnTo>
                      <a:pt x="576" y="23"/>
                    </a:lnTo>
                    <a:lnTo>
                      <a:pt x="598" y="27"/>
                    </a:lnTo>
                    <a:lnTo>
                      <a:pt x="602" y="56"/>
                    </a:lnTo>
                    <a:lnTo>
                      <a:pt x="582" y="72"/>
                    </a:lnTo>
                    <a:lnTo>
                      <a:pt x="585" y="88"/>
                    </a:lnTo>
                    <a:lnTo>
                      <a:pt x="618" y="83"/>
                    </a:lnTo>
                    <a:lnTo>
                      <a:pt x="625" y="68"/>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88" name="Freeform 7">
                <a:extLst>
                  <a:ext uri="{FF2B5EF4-FFF2-40B4-BE49-F238E27FC236}">
                    <a16:creationId xmlns:a16="http://schemas.microsoft.com/office/drawing/2014/main" id="{172262C2-47A8-4146-AD83-188A57F9336C}"/>
                  </a:ext>
                </a:extLst>
              </p:cNvPr>
              <p:cNvSpPr>
                <a:spLocks/>
              </p:cNvSpPr>
              <p:nvPr/>
            </p:nvSpPr>
            <p:spPr bwMode="gray">
              <a:xfrm>
                <a:off x="5040866" y="3316208"/>
                <a:ext cx="1193030" cy="940555"/>
              </a:xfrm>
              <a:custGeom>
                <a:avLst/>
                <a:gdLst>
                  <a:gd name="T0" fmla="*/ 1193030 w 671"/>
                  <a:gd name="T1" fmla="*/ 456943 h 529"/>
                  <a:gd name="T2" fmla="*/ 1116577 w 671"/>
                  <a:gd name="T3" fmla="*/ 496058 h 529"/>
                  <a:gd name="T4" fmla="*/ 1050791 w 671"/>
                  <a:gd name="T5" fmla="*/ 483612 h 529"/>
                  <a:gd name="T6" fmla="*/ 1054347 w 671"/>
                  <a:gd name="T7" fmla="*/ 444497 h 529"/>
                  <a:gd name="T8" fmla="*/ 983227 w 671"/>
                  <a:gd name="T9" fmla="*/ 378711 h 529"/>
                  <a:gd name="T10" fmla="*/ 910330 w 671"/>
                  <a:gd name="T11" fmla="*/ 376933 h 529"/>
                  <a:gd name="T12" fmla="*/ 906774 w 671"/>
                  <a:gd name="T13" fmla="*/ 424939 h 529"/>
                  <a:gd name="T14" fmla="*/ 954780 w 671"/>
                  <a:gd name="T15" fmla="*/ 444497 h 529"/>
                  <a:gd name="T16" fmla="*/ 954780 w 671"/>
                  <a:gd name="T17" fmla="*/ 467611 h 529"/>
                  <a:gd name="T18" fmla="*/ 673857 w 671"/>
                  <a:gd name="T19" fmla="*/ 597403 h 529"/>
                  <a:gd name="T20" fmla="*/ 618740 w 671"/>
                  <a:gd name="T21" fmla="*/ 670301 h 529"/>
                  <a:gd name="T22" fmla="*/ 551176 w 671"/>
                  <a:gd name="T23" fmla="*/ 693415 h 529"/>
                  <a:gd name="T24" fmla="*/ 529840 w 671"/>
                  <a:gd name="T25" fmla="*/ 686303 h 529"/>
                  <a:gd name="T26" fmla="*/ 508505 w 671"/>
                  <a:gd name="T27" fmla="*/ 711195 h 529"/>
                  <a:gd name="T28" fmla="*/ 512061 w 671"/>
                  <a:gd name="T29" fmla="*/ 741420 h 529"/>
                  <a:gd name="T30" fmla="*/ 416049 w 671"/>
                  <a:gd name="T31" fmla="*/ 796538 h 529"/>
                  <a:gd name="T32" fmla="*/ 362710 w 671"/>
                  <a:gd name="T33" fmla="*/ 782314 h 529"/>
                  <a:gd name="T34" fmla="*/ 199135 w 671"/>
                  <a:gd name="T35" fmla="*/ 878325 h 529"/>
                  <a:gd name="T36" fmla="*/ 177799 w 671"/>
                  <a:gd name="T37" fmla="*/ 935221 h 529"/>
                  <a:gd name="T38" fmla="*/ 160019 w 671"/>
                  <a:gd name="T39" fmla="*/ 940555 h 529"/>
                  <a:gd name="T40" fmla="*/ 133349 w 671"/>
                  <a:gd name="T41" fmla="*/ 913885 h 529"/>
                  <a:gd name="T42" fmla="*/ 94233 w 671"/>
                  <a:gd name="T43" fmla="*/ 874769 h 529"/>
                  <a:gd name="T44" fmla="*/ 0 w 671"/>
                  <a:gd name="T45" fmla="*/ 814318 h 529"/>
                  <a:gd name="T46" fmla="*/ 16002 w 671"/>
                  <a:gd name="T47" fmla="*/ 734308 h 529"/>
                  <a:gd name="T48" fmla="*/ 33782 w 671"/>
                  <a:gd name="T49" fmla="*/ 720085 h 529"/>
                  <a:gd name="T50" fmla="*/ 90677 w 671"/>
                  <a:gd name="T51" fmla="*/ 720085 h 529"/>
                  <a:gd name="T52" fmla="*/ 140461 w 671"/>
                  <a:gd name="T53" fmla="*/ 643631 h 529"/>
                  <a:gd name="T54" fmla="*/ 112013 w 671"/>
                  <a:gd name="T55" fmla="*/ 570734 h 529"/>
                  <a:gd name="T56" fmla="*/ 257808 w 671"/>
                  <a:gd name="T57" fmla="*/ 481834 h 529"/>
                  <a:gd name="T58" fmla="*/ 247140 w 671"/>
                  <a:gd name="T59" fmla="*/ 448053 h 529"/>
                  <a:gd name="T60" fmla="*/ 112013 w 671"/>
                  <a:gd name="T61" fmla="*/ 392935 h 529"/>
                  <a:gd name="T62" fmla="*/ 44450 w 671"/>
                  <a:gd name="T63" fmla="*/ 163575 h 529"/>
                  <a:gd name="T64" fmla="*/ 85343 w 671"/>
                  <a:gd name="T65" fmla="*/ 101345 h 529"/>
                  <a:gd name="T66" fmla="*/ 289812 w 671"/>
                  <a:gd name="T67" fmla="*/ 19558 h 529"/>
                  <a:gd name="T68" fmla="*/ 318260 w 671"/>
                  <a:gd name="T69" fmla="*/ 42672 h 529"/>
                  <a:gd name="T70" fmla="*/ 337818 w 671"/>
                  <a:gd name="T71" fmla="*/ 37338 h 529"/>
                  <a:gd name="T72" fmla="*/ 359154 w 671"/>
                  <a:gd name="T73" fmla="*/ 10668 h 529"/>
                  <a:gd name="T74" fmla="*/ 385823 w 671"/>
                  <a:gd name="T75" fmla="*/ 19558 h 529"/>
                  <a:gd name="T76" fmla="*/ 444497 w 671"/>
                  <a:gd name="T77" fmla="*/ 74675 h 529"/>
                  <a:gd name="T78" fmla="*/ 451609 w 671"/>
                  <a:gd name="T79" fmla="*/ 112013 h 529"/>
                  <a:gd name="T80" fmla="*/ 440941 w 671"/>
                  <a:gd name="T81" fmla="*/ 124459 h 529"/>
                  <a:gd name="T82" fmla="*/ 453387 w 671"/>
                  <a:gd name="T83" fmla="*/ 172465 h 529"/>
                  <a:gd name="T84" fmla="*/ 476501 w 671"/>
                  <a:gd name="T85" fmla="*/ 179577 h 529"/>
                  <a:gd name="T86" fmla="*/ 492503 w 671"/>
                  <a:gd name="T87" fmla="*/ 147573 h 529"/>
                  <a:gd name="T88" fmla="*/ 508505 w 671"/>
                  <a:gd name="T89" fmla="*/ 138683 h 529"/>
                  <a:gd name="T90" fmla="*/ 609850 w 671"/>
                  <a:gd name="T91" fmla="*/ 172465 h 529"/>
                  <a:gd name="T92" fmla="*/ 762757 w 671"/>
                  <a:gd name="T93" fmla="*/ 156463 h 529"/>
                  <a:gd name="T94" fmla="*/ 771647 w 671"/>
                  <a:gd name="T95" fmla="*/ 108457 h 529"/>
                  <a:gd name="T96" fmla="*/ 803651 w 671"/>
                  <a:gd name="T97" fmla="*/ 55118 h 529"/>
                  <a:gd name="T98" fmla="*/ 878326 w 671"/>
                  <a:gd name="T99" fmla="*/ 72897 h 529"/>
                  <a:gd name="T100" fmla="*/ 920998 w 671"/>
                  <a:gd name="T101" fmla="*/ 26670 h 529"/>
                  <a:gd name="T102" fmla="*/ 1040123 w 671"/>
                  <a:gd name="T103" fmla="*/ 0 h 529"/>
                  <a:gd name="T104" fmla="*/ 1029455 w 671"/>
                  <a:gd name="T105" fmla="*/ 35560 h 529"/>
                  <a:gd name="T106" fmla="*/ 1043679 w 671"/>
                  <a:gd name="T107" fmla="*/ 53340 h 529"/>
                  <a:gd name="T108" fmla="*/ 1105909 w 671"/>
                  <a:gd name="T109" fmla="*/ 69341 h 529"/>
                  <a:gd name="T110" fmla="*/ 1173472 w 671"/>
                  <a:gd name="T111" fmla="*/ 247140 h 529"/>
                  <a:gd name="T112" fmla="*/ 1155692 w 671"/>
                  <a:gd name="T113" fmla="*/ 346707 h 529"/>
                  <a:gd name="T114" fmla="*/ 1193030 w 671"/>
                  <a:gd name="T115" fmla="*/ 389379 h 529"/>
                  <a:gd name="T116" fmla="*/ 1193030 w 671"/>
                  <a:gd name="T117" fmla="*/ 456943 h 5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1"/>
                  <a:gd name="T178" fmla="*/ 0 h 529"/>
                  <a:gd name="T179" fmla="*/ 671 w 671"/>
                  <a:gd name="T180" fmla="*/ 529 h 5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1" h="529">
                    <a:moveTo>
                      <a:pt x="671" y="257"/>
                    </a:moveTo>
                    <a:lnTo>
                      <a:pt x="628" y="279"/>
                    </a:lnTo>
                    <a:lnTo>
                      <a:pt x="591" y="272"/>
                    </a:lnTo>
                    <a:lnTo>
                      <a:pt x="593" y="250"/>
                    </a:lnTo>
                    <a:lnTo>
                      <a:pt x="553" y="213"/>
                    </a:lnTo>
                    <a:lnTo>
                      <a:pt x="512" y="212"/>
                    </a:lnTo>
                    <a:lnTo>
                      <a:pt x="510" y="239"/>
                    </a:lnTo>
                    <a:lnTo>
                      <a:pt x="537" y="250"/>
                    </a:lnTo>
                    <a:lnTo>
                      <a:pt x="537" y="263"/>
                    </a:lnTo>
                    <a:lnTo>
                      <a:pt x="379" y="336"/>
                    </a:lnTo>
                    <a:lnTo>
                      <a:pt x="348" y="377"/>
                    </a:lnTo>
                    <a:lnTo>
                      <a:pt x="310" y="390"/>
                    </a:lnTo>
                    <a:lnTo>
                      <a:pt x="298" y="386"/>
                    </a:lnTo>
                    <a:lnTo>
                      <a:pt x="286" y="400"/>
                    </a:lnTo>
                    <a:lnTo>
                      <a:pt x="288" y="417"/>
                    </a:lnTo>
                    <a:lnTo>
                      <a:pt x="234" y="448"/>
                    </a:lnTo>
                    <a:lnTo>
                      <a:pt x="204" y="440"/>
                    </a:lnTo>
                    <a:lnTo>
                      <a:pt x="112" y="494"/>
                    </a:lnTo>
                    <a:lnTo>
                      <a:pt x="100" y="526"/>
                    </a:lnTo>
                    <a:lnTo>
                      <a:pt x="90" y="529"/>
                    </a:lnTo>
                    <a:lnTo>
                      <a:pt x="75" y="514"/>
                    </a:lnTo>
                    <a:lnTo>
                      <a:pt x="53" y="492"/>
                    </a:lnTo>
                    <a:lnTo>
                      <a:pt x="0" y="458"/>
                    </a:lnTo>
                    <a:lnTo>
                      <a:pt x="9" y="413"/>
                    </a:lnTo>
                    <a:lnTo>
                      <a:pt x="19" y="405"/>
                    </a:lnTo>
                    <a:lnTo>
                      <a:pt x="51" y="405"/>
                    </a:lnTo>
                    <a:lnTo>
                      <a:pt x="79" y="362"/>
                    </a:lnTo>
                    <a:lnTo>
                      <a:pt x="63" y="321"/>
                    </a:lnTo>
                    <a:lnTo>
                      <a:pt x="145" y="271"/>
                    </a:lnTo>
                    <a:lnTo>
                      <a:pt x="139" y="252"/>
                    </a:lnTo>
                    <a:lnTo>
                      <a:pt x="63" y="221"/>
                    </a:lnTo>
                    <a:lnTo>
                      <a:pt x="25" y="92"/>
                    </a:lnTo>
                    <a:lnTo>
                      <a:pt x="48" y="57"/>
                    </a:lnTo>
                    <a:lnTo>
                      <a:pt x="163" y="11"/>
                    </a:lnTo>
                    <a:lnTo>
                      <a:pt x="179" y="24"/>
                    </a:lnTo>
                    <a:lnTo>
                      <a:pt x="190" y="21"/>
                    </a:lnTo>
                    <a:lnTo>
                      <a:pt x="202" y="6"/>
                    </a:lnTo>
                    <a:lnTo>
                      <a:pt x="217" y="11"/>
                    </a:lnTo>
                    <a:lnTo>
                      <a:pt x="250" y="42"/>
                    </a:lnTo>
                    <a:lnTo>
                      <a:pt x="254" y="63"/>
                    </a:lnTo>
                    <a:lnTo>
                      <a:pt x="248" y="70"/>
                    </a:lnTo>
                    <a:lnTo>
                      <a:pt x="255" y="97"/>
                    </a:lnTo>
                    <a:lnTo>
                      <a:pt x="268" y="101"/>
                    </a:lnTo>
                    <a:lnTo>
                      <a:pt x="277" y="83"/>
                    </a:lnTo>
                    <a:lnTo>
                      <a:pt x="286" y="78"/>
                    </a:lnTo>
                    <a:lnTo>
                      <a:pt x="343" y="97"/>
                    </a:lnTo>
                    <a:lnTo>
                      <a:pt x="429" y="88"/>
                    </a:lnTo>
                    <a:lnTo>
                      <a:pt x="434" y="61"/>
                    </a:lnTo>
                    <a:lnTo>
                      <a:pt x="452" y="31"/>
                    </a:lnTo>
                    <a:lnTo>
                      <a:pt x="494" y="41"/>
                    </a:lnTo>
                    <a:lnTo>
                      <a:pt x="518" y="15"/>
                    </a:lnTo>
                    <a:lnTo>
                      <a:pt x="585" y="0"/>
                    </a:lnTo>
                    <a:lnTo>
                      <a:pt x="579" y="20"/>
                    </a:lnTo>
                    <a:lnTo>
                      <a:pt x="587" y="30"/>
                    </a:lnTo>
                    <a:lnTo>
                      <a:pt x="622" y="39"/>
                    </a:lnTo>
                    <a:lnTo>
                      <a:pt x="660" y="139"/>
                    </a:lnTo>
                    <a:lnTo>
                      <a:pt x="650" y="195"/>
                    </a:lnTo>
                    <a:lnTo>
                      <a:pt x="671" y="219"/>
                    </a:lnTo>
                    <a:lnTo>
                      <a:pt x="671" y="257"/>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89" name="Freeform 8">
                <a:extLst>
                  <a:ext uri="{FF2B5EF4-FFF2-40B4-BE49-F238E27FC236}">
                    <a16:creationId xmlns:a16="http://schemas.microsoft.com/office/drawing/2014/main" id="{F7BDE96D-3811-4756-A00B-E271B435C996}"/>
                  </a:ext>
                </a:extLst>
              </p:cNvPr>
              <p:cNvSpPr>
                <a:spLocks/>
              </p:cNvSpPr>
              <p:nvPr/>
            </p:nvSpPr>
            <p:spPr bwMode="gray">
              <a:xfrm>
                <a:off x="4471910" y="2537450"/>
                <a:ext cx="997451" cy="1264149"/>
              </a:xfrm>
              <a:custGeom>
                <a:avLst/>
                <a:gdLst>
                  <a:gd name="T0" fmla="*/ 42672 w 561"/>
                  <a:gd name="T1" fmla="*/ 158241 h 711"/>
                  <a:gd name="T2" fmla="*/ 56896 w 561"/>
                  <a:gd name="T3" fmla="*/ 119125 h 711"/>
                  <a:gd name="T4" fmla="*/ 128015 w 561"/>
                  <a:gd name="T5" fmla="*/ 76453 h 711"/>
                  <a:gd name="T6" fmla="*/ 254252 w 561"/>
                  <a:gd name="T7" fmla="*/ 90677 h 711"/>
                  <a:gd name="T8" fmla="*/ 344930 w 561"/>
                  <a:gd name="T9" fmla="*/ 0 h 711"/>
                  <a:gd name="T10" fmla="*/ 488947 w 561"/>
                  <a:gd name="T11" fmla="*/ 87121 h 711"/>
                  <a:gd name="T12" fmla="*/ 570734 w 561"/>
                  <a:gd name="T13" fmla="*/ 64008 h 711"/>
                  <a:gd name="T14" fmla="*/ 599182 w 561"/>
                  <a:gd name="T15" fmla="*/ 94233 h 711"/>
                  <a:gd name="T16" fmla="*/ 583180 w 561"/>
                  <a:gd name="T17" fmla="*/ 133349 h 711"/>
                  <a:gd name="T18" fmla="*/ 593848 w 561"/>
                  <a:gd name="T19" fmla="*/ 216914 h 711"/>
                  <a:gd name="T20" fmla="*/ 574290 w 561"/>
                  <a:gd name="T21" fmla="*/ 232916 h 711"/>
                  <a:gd name="T22" fmla="*/ 572512 w 561"/>
                  <a:gd name="T23" fmla="*/ 293368 h 711"/>
                  <a:gd name="T24" fmla="*/ 641853 w 561"/>
                  <a:gd name="T25" fmla="*/ 311148 h 711"/>
                  <a:gd name="T26" fmla="*/ 618740 w 561"/>
                  <a:gd name="T27" fmla="*/ 496059 h 711"/>
                  <a:gd name="T28" fmla="*/ 695193 w 561"/>
                  <a:gd name="T29" fmla="*/ 588514 h 711"/>
                  <a:gd name="T30" fmla="*/ 759201 w 561"/>
                  <a:gd name="T31" fmla="*/ 604516 h 711"/>
                  <a:gd name="T32" fmla="*/ 791204 w 561"/>
                  <a:gd name="T33" fmla="*/ 583180 h 711"/>
                  <a:gd name="T34" fmla="*/ 963669 w 561"/>
                  <a:gd name="T35" fmla="*/ 673857 h 711"/>
                  <a:gd name="T36" fmla="*/ 997451 w 561"/>
                  <a:gd name="T37" fmla="*/ 753867 h 711"/>
                  <a:gd name="T38" fmla="*/ 953001 w 561"/>
                  <a:gd name="T39" fmla="*/ 800094 h 711"/>
                  <a:gd name="T40" fmla="*/ 928110 w 561"/>
                  <a:gd name="T41" fmla="*/ 789426 h 711"/>
                  <a:gd name="T42" fmla="*/ 906773 w 561"/>
                  <a:gd name="T43" fmla="*/ 816096 h 711"/>
                  <a:gd name="T44" fmla="*/ 887216 w 561"/>
                  <a:gd name="T45" fmla="*/ 821430 h 711"/>
                  <a:gd name="T46" fmla="*/ 858768 w 561"/>
                  <a:gd name="T47" fmla="*/ 798316 h 711"/>
                  <a:gd name="T48" fmla="*/ 654299 w 561"/>
                  <a:gd name="T49" fmla="*/ 880104 h 711"/>
                  <a:gd name="T50" fmla="*/ 613406 w 561"/>
                  <a:gd name="T51" fmla="*/ 942333 h 711"/>
                  <a:gd name="T52" fmla="*/ 680969 w 561"/>
                  <a:gd name="T53" fmla="*/ 1171694 h 711"/>
                  <a:gd name="T54" fmla="*/ 688081 w 561"/>
                  <a:gd name="T55" fmla="*/ 1232145 h 711"/>
                  <a:gd name="T56" fmla="*/ 673857 w 561"/>
                  <a:gd name="T57" fmla="*/ 1264149 h 711"/>
                  <a:gd name="T58" fmla="*/ 574290 w 561"/>
                  <a:gd name="T59" fmla="*/ 1246369 h 711"/>
                  <a:gd name="T60" fmla="*/ 563622 w 561"/>
                  <a:gd name="T61" fmla="*/ 1221477 h 711"/>
                  <a:gd name="T62" fmla="*/ 366265 w 561"/>
                  <a:gd name="T63" fmla="*/ 1178806 h 711"/>
                  <a:gd name="T64" fmla="*/ 328928 w 561"/>
                  <a:gd name="T65" fmla="*/ 1104130 h 711"/>
                  <a:gd name="T66" fmla="*/ 362709 w 561"/>
                  <a:gd name="T67" fmla="*/ 1065014 h 711"/>
                  <a:gd name="T68" fmla="*/ 328928 w 561"/>
                  <a:gd name="T69" fmla="*/ 1020565 h 711"/>
                  <a:gd name="T70" fmla="*/ 165353 w 561"/>
                  <a:gd name="T71" fmla="*/ 979671 h 711"/>
                  <a:gd name="T72" fmla="*/ 142239 w 561"/>
                  <a:gd name="T73" fmla="*/ 885438 h 711"/>
                  <a:gd name="T74" fmla="*/ 60452 w 561"/>
                  <a:gd name="T75" fmla="*/ 862324 h 711"/>
                  <a:gd name="T76" fmla="*/ 17780 w 561"/>
                  <a:gd name="T77" fmla="*/ 796538 h 711"/>
                  <a:gd name="T78" fmla="*/ 12446 w 561"/>
                  <a:gd name="T79" fmla="*/ 753867 h 711"/>
                  <a:gd name="T80" fmla="*/ 32004 w 561"/>
                  <a:gd name="T81" fmla="*/ 725419 h 711"/>
                  <a:gd name="T82" fmla="*/ 0 w 561"/>
                  <a:gd name="T83" fmla="*/ 640075 h 711"/>
                  <a:gd name="T84" fmla="*/ 167131 w 561"/>
                  <a:gd name="T85" fmla="*/ 567178 h 711"/>
                  <a:gd name="T86" fmla="*/ 160019 w 561"/>
                  <a:gd name="T87" fmla="*/ 416049 h 711"/>
                  <a:gd name="T88" fmla="*/ 122681 w 561"/>
                  <a:gd name="T89" fmla="*/ 368043 h 711"/>
                  <a:gd name="T90" fmla="*/ 126237 w 561"/>
                  <a:gd name="T91" fmla="*/ 312926 h 711"/>
                  <a:gd name="T92" fmla="*/ 42672 w 561"/>
                  <a:gd name="T93" fmla="*/ 158241 h 7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61"/>
                  <a:gd name="T142" fmla="*/ 0 h 711"/>
                  <a:gd name="T143" fmla="*/ 561 w 561"/>
                  <a:gd name="T144" fmla="*/ 711 h 7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61" h="711">
                    <a:moveTo>
                      <a:pt x="24" y="89"/>
                    </a:moveTo>
                    <a:lnTo>
                      <a:pt x="32" y="67"/>
                    </a:lnTo>
                    <a:lnTo>
                      <a:pt x="72" y="43"/>
                    </a:lnTo>
                    <a:lnTo>
                      <a:pt x="143" y="51"/>
                    </a:lnTo>
                    <a:lnTo>
                      <a:pt x="194" y="0"/>
                    </a:lnTo>
                    <a:lnTo>
                      <a:pt x="275" y="49"/>
                    </a:lnTo>
                    <a:lnTo>
                      <a:pt x="321" y="36"/>
                    </a:lnTo>
                    <a:lnTo>
                      <a:pt x="337" y="53"/>
                    </a:lnTo>
                    <a:lnTo>
                      <a:pt x="328" y="75"/>
                    </a:lnTo>
                    <a:lnTo>
                      <a:pt x="334" y="122"/>
                    </a:lnTo>
                    <a:lnTo>
                      <a:pt x="323" y="131"/>
                    </a:lnTo>
                    <a:lnTo>
                      <a:pt x="322" y="165"/>
                    </a:lnTo>
                    <a:lnTo>
                      <a:pt x="361" y="175"/>
                    </a:lnTo>
                    <a:lnTo>
                      <a:pt x="348" y="279"/>
                    </a:lnTo>
                    <a:lnTo>
                      <a:pt x="391" y="331"/>
                    </a:lnTo>
                    <a:lnTo>
                      <a:pt x="427" y="340"/>
                    </a:lnTo>
                    <a:lnTo>
                      <a:pt x="445" y="328"/>
                    </a:lnTo>
                    <a:lnTo>
                      <a:pt x="542" y="379"/>
                    </a:lnTo>
                    <a:lnTo>
                      <a:pt x="561" y="424"/>
                    </a:lnTo>
                    <a:lnTo>
                      <a:pt x="536" y="450"/>
                    </a:lnTo>
                    <a:lnTo>
                      <a:pt x="522" y="444"/>
                    </a:lnTo>
                    <a:lnTo>
                      <a:pt x="510" y="459"/>
                    </a:lnTo>
                    <a:lnTo>
                      <a:pt x="499" y="462"/>
                    </a:lnTo>
                    <a:lnTo>
                      <a:pt x="483" y="449"/>
                    </a:lnTo>
                    <a:lnTo>
                      <a:pt x="368" y="495"/>
                    </a:lnTo>
                    <a:lnTo>
                      <a:pt x="345" y="530"/>
                    </a:lnTo>
                    <a:lnTo>
                      <a:pt x="383" y="659"/>
                    </a:lnTo>
                    <a:lnTo>
                      <a:pt x="387" y="693"/>
                    </a:lnTo>
                    <a:lnTo>
                      <a:pt x="379" y="711"/>
                    </a:lnTo>
                    <a:lnTo>
                      <a:pt x="323" y="701"/>
                    </a:lnTo>
                    <a:lnTo>
                      <a:pt x="317" y="687"/>
                    </a:lnTo>
                    <a:lnTo>
                      <a:pt x="206" y="663"/>
                    </a:lnTo>
                    <a:lnTo>
                      <a:pt x="185" y="621"/>
                    </a:lnTo>
                    <a:lnTo>
                      <a:pt x="204" y="599"/>
                    </a:lnTo>
                    <a:lnTo>
                      <a:pt x="185" y="574"/>
                    </a:lnTo>
                    <a:lnTo>
                      <a:pt x="93" y="551"/>
                    </a:lnTo>
                    <a:lnTo>
                      <a:pt x="80" y="498"/>
                    </a:lnTo>
                    <a:lnTo>
                      <a:pt x="34" y="485"/>
                    </a:lnTo>
                    <a:lnTo>
                      <a:pt x="10" y="448"/>
                    </a:lnTo>
                    <a:lnTo>
                      <a:pt x="7" y="424"/>
                    </a:lnTo>
                    <a:lnTo>
                      <a:pt x="18" y="408"/>
                    </a:lnTo>
                    <a:lnTo>
                      <a:pt x="0" y="360"/>
                    </a:lnTo>
                    <a:lnTo>
                      <a:pt x="94" y="319"/>
                    </a:lnTo>
                    <a:lnTo>
                      <a:pt x="90" y="234"/>
                    </a:lnTo>
                    <a:lnTo>
                      <a:pt x="69" y="207"/>
                    </a:lnTo>
                    <a:lnTo>
                      <a:pt x="71" y="176"/>
                    </a:lnTo>
                    <a:lnTo>
                      <a:pt x="24" y="89"/>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90" name="Freeform 9">
                <a:extLst>
                  <a:ext uri="{FF2B5EF4-FFF2-40B4-BE49-F238E27FC236}">
                    <a16:creationId xmlns:a16="http://schemas.microsoft.com/office/drawing/2014/main" id="{121031F1-66C9-4A11-98A1-5C589DC6A395}"/>
                  </a:ext>
                </a:extLst>
              </p:cNvPr>
              <p:cNvSpPr>
                <a:spLocks/>
              </p:cNvSpPr>
              <p:nvPr/>
            </p:nvSpPr>
            <p:spPr bwMode="gray">
              <a:xfrm>
                <a:off x="4443463" y="1627121"/>
                <a:ext cx="1420612" cy="887216"/>
              </a:xfrm>
              <a:custGeom>
                <a:avLst/>
                <a:gdLst>
                  <a:gd name="T0" fmla="*/ 44450 w 799"/>
                  <a:gd name="T1" fmla="*/ 398269 h 499"/>
                  <a:gd name="T2" fmla="*/ 113791 w 799"/>
                  <a:gd name="T3" fmla="*/ 512061 h 499"/>
                  <a:gd name="T4" fmla="*/ 0 w 799"/>
                  <a:gd name="T5" fmla="*/ 675635 h 499"/>
                  <a:gd name="T6" fmla="*/ 92455 w 799"/>
                  <a:gd name="T7" fmla="*/ 741421 h 499"/>
                  <a:gd name="T8" fmla="*/ 206247 w 799"/>
                  <a:gd name="T9" fmla="*/ 812541 h 499"/>
                  <a:gd name="T10" fmla="*/ 252474 w 799"/>
                  <a:gd name="T11" fmla="*/ 887216 h 499"/>
                  <a:gd name="T12" fmla="*/ 337818 w 799"/>
                  <a:gd name="T13" fmla="*/ 860546 h 499"/>
                  <a:gd name="T14" fmla="*/ 341374 w 799"/>
                  <a:gd name="T15" fmla="*/ 791205 h 499"/>
                  <a:gd name="T16" fmla="*/ 412493 w 799"/>
                  <a:gd name="T17" fmla="*/ 784093 h 499"/>
                  <a:gd name="T18" fmla="*/ 528062 w 799"/>
                  <a:gd name="T19" fmla="*/ 680969 h 499"/>
                  <a:gd name="T20" fmla="*/ 670301 w 799"/>
                  <a:gd name="T21" fmla="*/ 744977 h 499"/>
                  <a:gd name="T22" fmla="*/ 782314 w 799"/>
                  <a:gd name="T23" fmla="*/ 753867 h 499"/>
                  <a:gd name="T24" fmla="*/ 872992 w 799"/>
                  <a:gd name="T25" fmla="*/ 780537 h 499"/>
                  <a:gd name="T26" fmla="*/ 983227 w 799"/>
                  <a:gd name="T27" fmla="*/ 696971 h 499"/>
                  <a:gd name="T28" fmla="*/ 1063237 w 799"/>
                  <a:gd name="T29" fmla="*/ 664968 h 499"/>
                  <a:gd name="T30" fmla="*/ 1113020 w 799"/>
                  <a:gd name="T31" fmla="*/ 565400 h 499"/>
                  <a:gd name="T32" fmla="*/ 1153914 w 799"/>
                  <a:gd name="T33" fmla="*/ 524507 h 499"/>
                  <a:gd name="T34" fmla="*/ 1157470 w 799"/>
                  <a:gd name="T35" fmla="*/ 522729 h 499"/>
                  <a:gd name="T36" fmla="*/ 1169916 w 799"/>
                  <a:gd name="T37" fmla="*/ 531618 h 499"/>
                  <a:gd name="T38" fmla="*/ 1216144 w 799"/>
                  <a:gd name="T39" fmla="*/ 586736 h 499"/>
                  <a:gd name="T40" fmla="*/ 1315711 w 799"/>
                  <a:gd name="T41" fmla="*/ 568956 h 499"/>
                  <a:gd name="T42" fmla="*/ 1287263 w 799"/>
                  <a:gd name="T43" fmla="*/ 648966 h 499"/>
                  <a:gd name="T44" fmla="*/ 1351271 w 799"/>
                  <a:gd name="T45" fmla="*/ 668524 h 499"/>
                  <a:gd name="T46" fmla="*/ 1420612 w 799"/>
                  <a:gd name="T47" fmla="*/ 620518 h 499"/>
                  <a:gd name="T48" fmla="*/ 1294375 w 799"/>
                  <a:gd name="T49" fmla="*/ 394713 h 499"/>
                  <a:gd name="T50" fmla="*/ 1153914 w 799"/>
                  <a:gd name="T51" fmla="*/ 344930 h 499"/>
                  <a:gd name="T52" fmla="*/ 1185918 w 799"/>
                  <a:gd name="T53" fmla="*/ 286256 h 499"/>
                  <a:gd name="T54" fmla="*/ 1134356 w 799"/>
                  <a:gd name="T55" fmla="*/ 193801 h 499"/>
                  <a:gd name="T56" fmla="*/ 1015231 w 799"/>
                  <a:gd name="T57" fmla="*/ 183133 h 499"/>
                  <a:gd name="T58" fmla="*/ 864102 w 799"/>
                  <a:gd name="T59" fmla="*/ 46228 h 499"/>
                  <a:gd name="T60" fmla="*/ 812540 w 799"/>
                  <a:gd name="T61" fmla="*/ 10668 h 499"/>
                  <a:gd name="T62" fmla="*/ 666745 w 799"/>
                  <a:gd name="T63" fmla="*/ 56896 h 499"/>
                  <a:gd name="T64" fmla="*/ 602738 w 799"/>
                  <a:gd name="T65" fmla="*/ 126237 h 499"/>
                  <a:gd name="T66" fmla="*/ 773425 w 799"/>
                  <a:gd name="T67" fmla="*/ 32004 h 499"/>
                  <a:gd name="T68" fmla="*/ 640076 w 799"/>
                  <a:gd name="T69" fmla="*/ 0 h 499"/>
                  <a:gd name="T70" fmla="*/ 430273 w 799"/>
                  <a:gd name="T71" fmla="*/ 215137 h 499"/>
                  <a:gd name="T72" fmla="*/ 334262 w 799"/>
                  <a:gd name="T73" fmla="*/ 240028 h 499"/>
                  <a:gd name="T74" fmla="*/ 298702 w 799"/>
                  <a:gd name="T75" fmla="*/ 320038 h 499"/>
                  <a:gd name="T76" fmla="*/ 282700 w 799"/>
                  <a:gd name="T77" fmla="*/ 368044 h 499"/>
                  <a:gd name="T78" fmla="*/ 218692 w 799"/>
                  <a:gd name="T79" fmla="*/ 364488 h 499"/>
                  <a:gd name="T80" fmla="*/ 124459 w 799"/>
                  <a:gd name="T81" fmla="*/ 323594 h 499"/>
                  <a:gd name="T82" fmla="*/ 72897 w 799"/>
                  <a:gd name="T83" fmla="*/ 389379 h 49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99"/>
                  <a:gd name="T127" fmla="*/ 0 h 499"/>
                  <a:gd name="T128" fmla="*/ 799 w 799"/>
                  <a:gd name="T129" fmla="*/ 499 h 49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99" h="499">
                    <a:moveTo>
                      <a:pt x="41" y="219"/>
                    </a:moveTo>
                    <a:lnTo>
                      <a:pt x="25" y="224"/>
                    </a:lnTo>
                    <a:lnTo>
                      <a:pt x="25" y="268"/>
                    </a:lnTo>
                    <a:lnTo>
                      <a:pt x="64" y="288"/>
                    </a:lnTo>
                    <a:lnTo>
                      <a:pt x="57" y="326"/>
                    </a:lnTo>
                    <a:lnTo>
                      <a:pt x="0" y="380"/>
                    </a:lnTo>
                    <a:lnTo>
                      <a:pt x="2" y="407"/>
                    </a:lnTo>
                    <a:lnTo>
                      <a:pt x="52" y="417"/>
                    </a:lnTo>
                    <a:lnTo>
                      <a:pt x="75" y="408"/>
                    </a:lnTo>
                    <a:lnTo>
                      <a:pt x="116" y="457"/>
                    </a:lnTo>
                    <a:lnTo>
                      <a:pt x="108" y="476"/>
                    </a:lnTo>
                    <a:lnTo>
                      <a:pt x="142" y="499"/>
                    </a:lnTo>
                    <a:lnTo>
                      <a:pt x="172" y="475"/>
                    </a:lnTo>
                    <a:lnTo>
                      <a:pt x="190" y="484"/>
                    </a:lnTo>
                    <a:lnTo>
                      <a:pt x="199" y="473"/>
                    </a:lnTo>
                    <a:lnTo>
                      <a:pt x="192" y="445"/>
                    </a:lnTo>
                    <a:lnTo>
                      <a:pt x="210" y="432"/>
                    </a:lnTo>
                    <a:lnTo>
                      <a:pt x="232" y="441"/>
                    </a:lnTo>
                    <a:lnTo>
                      <a:pt x="282" y="416"/>
                    </a:lnTo>
                    <a:lnTo>
                      <a:pt x="297" y="383"/>
                    </a:lnTo>
                    <a:lnTo>
                      <a:pt x="356" y="397"/>
                    </a:lnTo>
                    <a:lnTo>
                      <a:pt x="377" y="419"/>
                    </a:lnTo>
                    <a:lnTo>
                      <a:pt x="418" y="414"/>
                    </a:lnTo>
                    <a:lnTo>
                      <a:pt x="440" y="424"/>
                    </a:lnTo>
                    <a:lnTo>
                      <a:pt x="444" y="434"/>
                    </a:lnTo>
                    <a:lnTo>
                      <a:pt x="491" y="439"/>
                    </a:lnTo>
                    <a:lnTo>
                      <a:pt x="505" y="416"/>
                    </a:lnTo>
                    <a:lnTo>
                      <a:pt x="553" y="392"/>
                    </a:lnTo>
                    <a:lnTo>
                      <a:pt x="571" y="403"/>
                    </a:lnTo>
                    <a:lnTo>
                      <a:pt x="598" y="374"/>
                    </a:lnTo>
                    <a:lnTo>
                      <a:pt x="602" y="343"/>
                    </a:lnTo>
                    <a:lnTo>
                      <a:pt x="626" y="318"/>
                    </a:lnTo>
                    <a:lnTo>
                      <a:pt x="643" y="301"/>
                    </a:lnTo>
                    <a:lnTo>
                      <a:pt x="649" y="295"/>
                    </a:lnTo>
                    <a:lnTo>
                      <a:pt x="651" y="293"/>
                    </a:lnTo>
                    <a:lnTo>
                      <a:pt x="651" y="294"/>
                    </a:lnTo>
                    <a:lnTo>
                      <a:pt x="653" y="294"/>
                    </a:lnTo>
                    <a:lnTo>
                      <a:pt x="658" y="299"/>
                    </a:lnTo>
                    <a:lnTo>
                      <a:pt x="669" y="312"/>
                    </a:lnTo>
                    <a:lnTo>
                      <a:pt x="684" y="330"/>
                    </a:lnTo>
                    <a:lnTo>
                      <a:pt x="718" y="316"/>
                    </a:lnTo>
                    <a:lnTo>
                      <a:pt x="740" y="320"/>
                    </a:lnTo>
                    <a:lnTo>
                      <a:pt x="744" y="349"/>
                    </a:lnTo>
                    <a:lnTo>
                      <a:pt x="724" y="365"/>
                    </a:lnTo>
                    <a:lnTo>
                      <a:pt x="727" y="381"/>
                    </a:lnTo>
                    <a:lnTo>
                      <a:pt x="760" y="376"/>
                    </a:lnTo>
                    <a:lnTo>
                      <a:pt x="767" y="361"/>
                    </a:lnTo>
                    <a:lnTo>
                      <a:pt x="799" y="349"/>
                    </a:lnTo>
                    <a:lnTo>
                      <a:pt x="770" y="253"/>
                    </a:lnTo>
                    <a:lnTo>
                      <a:pt x="728" y="222"/>
                    </a:lnTo>
                    <a:lnTo>
                      <a:pt x="708" y="225"/>
                    </a:lnTo>
                    <a:lnTo>
                      <a:pt x="649" y="194"/>
                    </a:lnTo>
                    <a:lnTo>
                      <a:pt x="645" y="187"/>
                    </a:lnTo>
                    <a:lnTo>
                      <a:pt x="667" y="161"/>
                    </a:lnTo>
                    <a:lnTo>
                      <a:pt x="631" y="134"/>
                    </a:lnTo>
                    <a:lnTo>
                      <a:pt x="638" y="109"/>
                    </a:lnTo>
                    <a:lnTo>
                      <a:pt x="613" y="83"/>
                    </a:lnTo>
                    <a:lnTo>
                      <a:pt x="571" y="103"/>
                    </a:lnTo>
                    <a:lnTo>
                      <a:pt x="491" y="59"/>
                    </a:lnTo>
                    <a:lnTo>
                      <a:pt x="486" y="26"/>
                    </a:lnTo>
                    <a:lnTo>
                      <a:pt x="468" y="3"/>
                    </a:lnTo>
                    <a:lnTo>
                      <a:pt x="457" y="6"/>
                    </a:lnTo>
                    <a:lnTo>
                      <a:pt x="426" y="35"/>
                    </a:lnTo>
                    <a:lnTo>
                      <a:pt x="375" y="32"/>
                    </a:lnTo>
                    <a:lnTo>
                      <a:pt x="361" y="45"/>
                    </a:lnTo>
                    <a:lnTo>
                      <a:pt x="339" y="71"/>
                    </a:lnTo>
                    <a:lnTo>
                      <a:pt x="373" y="26"/>
                    </a:lnTo>
                    <a:lnTo>
                      <a:pt x="435" y="18"/>
                    </a:lnTo>
                    <a:lnTo>
                      <a:pt x="440" y="1"/>
                    </a:lnTo>
                    <a:lnTo>
                      <a:pt x="360" y="0"/>
                    </a:lnTo>
                    <a:lnTo>
                      <a:pt x="302" y="82"/>
                    </a:lnTo>
                    <a:lnTo>
                      <a:pt x="242" y="121"/>
                    </a:lnTo>
                    <a:lnTo>
                      <a:pt x="206" y="119"/>
                    </a:lnTo>
                    <a:lnTo>
                      <a:pt x="188" y="135"/>
                    </a:lnTo>
                    <a:lnTo>
                      <a:pt x="184" y="163"/>
                    </a:lnTo>
                    <a:lnTo>
                      <a:pt x="168" y="180"/>
                    </a:lnTo>
                    <a:lnTo>
                      <a:pt x="169" y="190"/>
                    </a:lnTo>
                    <a:lnTo>
                      <a:pt x="159" y="207"/>
                    </a:lnTo>
                    <a:lnTo>
                      <a:pt x="130" y="198"/>
                    </a:lnTo>
                    <a:lnTo>
                      <a:pt x="123" y="205"/>
                    </a:lnTo>
                    <a:lnTo>
                      <a:pt x="106" y="179"/>
                    </a:lnTo>
                    <a:lnTo>
                      <a:pt x="70" y="182"/>
                    </a:lnTo>
                    <a:lnTo>
                      <a:pt x="52" y="195"/>
                    </a:lnTo>
                    <a:lnTo>
                      <a:pt x="41" y="219"/>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91" name="Freeform 10">
                <a:extLst>
                  <a:ext uri="{FF2B5EF4-FFF2-40B4-BE49-F238E27FC236}">
                    <a16:creationId xmlns:a16="http://schemas.microsoft.com/office/drawing/2014/main" id="{006055C9-E126-41F0-821E-7C5E702C095D}"/>
                  </a:ext>
                </a:extLst>
              </p:cNvPr>
              <p:cNvSpPr>
                <a:spLocks/>
              </p:cNvSpPr>
              <p:nvPr/>
            </p:nvSpPr>
            <p:spPr bwMode="gray">
              <a:xfrm>
                <a:off x="5572485" y="1756914"/>
                <a:ext cx="195579" cy="209802"/>
              </a:xfrm>
              <a:custGeom>
                <a:avLst/>
                <a:gdLst>
                  <a:gd name="T0" fmla="*/ 195579 w 160"/>
                  <a:gd name="T1" fmla="*/ 130053 h 171"/>
                  <a:gd name="T2" fmla="*/ 190690 w 160"/>
                  <a:gd name="T3" fmla="*/ 177902 h 171"/>
                  <a:gd name="T4" fmla="*/ 66008 w 160"/>
                  <a:gd name="T5" fmla="*/ 209802 h 171"/>
                  <a:gd name="T6" fmla="*/ 42783 w 160"/>
                  <a:gd name="T7" fmla="*/ 187718 h 171"/>
                  <a:gd name="T8" fmla="*/ 116125 w 160"/>
                  <a:gd name="T9" fmla="*/ 137414 h 171"/>
                  <a:gd name="T10" fmla="*/ 116125 w 160"/>
                  <a:gd name="T11" fmla="*/ 109195 h 171"/>
                  <a:gd name="T12" fmla="*/ 77009 w 160"/>
                  <a:gd name="T13" fmla="*/ 82203 h 171"/>
                  <a:gd name="T14" fmla="*/ 48895 w 160"/>
                  <a:gd name="T15" fmla="*/ 114103 h 171"/>
                  <a:gd name="T16" fmla="*/ 9779 w 160"/>
                  <a:gd name="T17" fmla="*/ 105514 h 171"/>
                  <a:gd name="T18" fmla="*/ 19558 w 160"/>
                  <a:gd name="T19" fmla="*/ 49076 h 171"/>
                  <a:gd name="T20" fmla="*/ 0 w 160"/>
                  <a:gd name="T21" fmla="*/ 26992 h 171"/>
                  <a:gd name="T22" fmla="*/ 15891 w 160"/>
                  <a:gd name="T23" fmla="*/ 0 h 171"/>
                  <a:gd name="T24" fmla="*/ 195579 w 160"/>
                  <a:gd name="T25" fmla="*/ 130053 h 1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0"/>
                  <a:gd name="T40" fmla="*/ 0 h 171"/>
                  <a:gd name="T41" fmla="*/ 160 w 160"/>
                  <a:gd name="T42" fmla="*/ 171 h 1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0" h="171">
                    <a:moveTo>
                      <a:pt x="160" y="106"/>
                    </a:moveTo>
                    <a:lnTo>
                      <a:pt x="156" y="145"/>
                    </a:lnTo>
                    <a:lnTo>
                      <a:pt x="54" y="171"/>
                    </a:lnTo>
                    <a:lnTo>
                      <a:pt x="35" y="153"/>
                    </a:lnTo>
                    <a:lnTo>
                      <a:pt x="95" y="112"/>
                    </a:lnTo>
                    <a:lnTo>
                      <a:pt x="95" y="89"/>
                    </a:lnTo>
                    <a:lnTo>
                      <a:pt x="63" y="67"/>
                    </a:lnTo>
                    <a:lnTo>
                      <a:pt x="40" y="93"/>
                    </a:lnTo>
                    <a:lnTo>
                      <a:pt x="8" y="86"/>
                    </a:lnTo>
                    <a:lnTo>
                      <a:pt x="16" y="40"/>
                    </a:lnTo>
                    <a:lnTo>
                      <a:pt x="0" y="22"/>
                    </a:lnTo>
                    <a:lnTo>
                      <a:pt x="13" y="0"/>
                    </a:lnTo>
                    <a:lnTo>
                      <a:pt x="160" y="106"/>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92" name="Freeform 11">
                <a:extLst>
                  <a:ext uri="{FF2B5EF4-FFF2-40B4-BE49-F238E27FC236}">
                    <a16:creationId xmlns:a16="http://schemas.microsoft.com/office/drawing/2014/main" id="{D289F903-7A24-4396-8F1A-C328BC78F261}"/>
                  </a:ext>
                </a:extLst>
              </p:cNvPr>
              <p:cNvSpPr>
                <a:spLocks/>
              </p:cNvSpPr>
              <p:nvPr/>
            </p:nvSpPr>
            <p:spPr bwMode="gray">
              <a:xfrm>
                <a:off x="5320010" y="1452878"/>
                <a:ext cx="232916" cy="284478"/>
              </a:xfrm>
              <a:custGeom>
                <a:avLst/>
                <a:gdLst>
                  <a:gd name="T0" fmla="*/ 96124 w 189"/>
                  <a:gd name="T1" fmla="*/ 284478 h 231"/>
                  <a:gd name="T2" fmla="*/ 1232 w 189"/>
                  <a:gd name="T3" fmla="*/ 215514 h 231"/>
                  <a:gd name="T4" fmla="*/ 19718 w 189"/>
                  <a:gd name="T5" fmla="*/ 199504 h 231"/>
                  <a:gd name="T6" fmla="*/ 43133 w 189"/>
                  <a:gd name="T7" fmla="*/ 172411 h 231"/>
                  <a:gd name="T8" fmla="*/ 0 w 189"/>
                  <a:gd name="T9" fmla="*/ 160096 h 231"/>
                  <a:gd name="T10" fmla="*/ 13556 w 189"/>
                  <a:gd name="T11" fmla="*/ 104678 h 231"/>
                  <a:gd name="T12" fmla="*/ 83800 w 189"/>
                  <a:gd name="T13" fmla="*/ 92363 h 231"/>
                  <a:gd name="T14" fmla="*/ 80103 w 189"/>
                  <a:gd name="T15" fmla="*/ 55418 h 231"/>
                  <a:gd name="T16" fmla="*/ 56689 w 189"/>
                  <a:gd name="T17" fmla="*/ 46797 h 231"/>
                  <a:gd name="T18" fmla="*/ 18485 w 189"/>
                  <a:gd name="T19" fmla="*/ 70196 h 231"/>
                  <a:gd name="T20" fmla="*/ 14788 w 189"/>
                  <a:gd name="T21" fmla="*/ 45566 h 231"/>
                  <a:gd name="T22" fmla="*/ 50527 w 189"/>
                  <a:gd name="T23" fmla="*/ 0 h 231"/>
                  <a:gd name="T24" fmla="*/ 88730 w 189"/>
                  <a:gd name="T25" fmla="*/ 8621 h 231"/>
                  <a:gd name="T26" fmla="*/ 129398 w 189"/>
                  <a:gd name="T27" fmla="*/ 48029 h 231"/>
                  <a:gd name="T28" fmla="*/ 184854 w 189"/>
                  <a:gd name="T29" fmla="*/ 54186 h 231"/>
                  <a:gd name="T30" fmla="*/ 199642 w 189"/>
                  <a:gd name="T31" fmla="*/ 98521 h 231"/>
                  <a:gd name="T32" fmla="*/ 158974 w 189"/>
                  <a:gd name="T33" fmla="*/ 135466 h 231"/>
                  <a:gd name="T34" fmla="*/ 176227 w 189"/>
                  <a:gd name="T35" fmla="*/ 167485 h 231"/>
                  <a:gd name="T36" fmla="*/ 232916 w 189"/>
                  <a:gd name="T37" fmla="*/ 217977 h 231"/>
                  <a:gd name="T38" fmla="*/ 208269 w 189"/>
                  <a:gd name="T39" fmla="*/ 243838 h 231"/>
                  <a:gd name="T40" fmla="*/ 174995 w 189"/>
                  <a:gd name="T41" fmla="*/ 220440 h 231"/>
                  <a:gd name="T42" fmla="*/ 103518 w 189"/>
                  <a:gd name="T43" fmla="*/ 237681 h 231"/>
                  <a:gd name="T44" fmla="*/ 96124 w 189"/>
                  <a:gd name="T45" fmla="*/ 284478 h 2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9"/>
                  <a:gd name="T70" fmla="*/ 0 h 231"/>
                  <a:gd name="T71" fmla="*/ 189 w 189"/>
                  <a:gd name="T72" fmla="*/ 231 h 2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9" h="231">
                    <a:moveTo>
                      <a:pt x="78" y="231"/>
                    </a:moveTo>
                    <a:lnTo>
                      <a:pt x="1" y="175"/>
                    </a:lnTo>
                    <a:lnTo>
                      <a:pt x="16" y="162"/>
                    </a:lnTo>
                    <a:lnTo>
                      <a:pt x="35" y="140"/>
                    </a:lnTo>
                    <a:lnTo>
                      <a:pt x="0" y="130"/>
                    </a:lnTo>
                    <a:lnTo>
                      <a:pt x="11" y="85"/>
                    </a:lnTo>
                    <a:lnTo>
                      <a:pt x="68" y="75"/>
                    </a:lnTo>
                    <a:lnTo>
                      <a:pt x="65" y="45"/>
                    </a:lnTo>
                    <a:lnTo>
                      <a:pt x="46" y="38"/>
                    </a:lnTo>
                    <a:lnTo>
                      <a:pt x="15" y="57"/>
                    </a:lnTo>
                    <a:lnTo>
                      <a:pt x="12" y="37"/>
                    </a:lnTo>
                    <a:lnTo>
                      <a:pt x="41" y="0"/>
                    </a:lnTo>
                    <a:lnTo>
                      <a:pt x="72" y="7"/>
                    </a:lnTo>
                    <a:lnTo>
                      <a:pt x="105" y="39"/>
                    </a:lnTo>
                    <a:lnTo>
                      <a:pt x="150" y="44"/>
                    </a:lnTo>
                    <a:lnTo>
                      <a:pt x="162" y="80"/>
                    </a:lnTo>
                    <a:lnTo>
                      <a:pt x="129" y="110"/>
                    </a:lnTo>
                    <a:lnTo>
                      <a:pt x="143" y="136"/>
                    </a:lnTo>
                    <a:lnTo>
                      <a:pt x="189" y="177"/>
                    </a:lnTo>
                    <a:lnTo>
                      <a:pt x="169" y="198"/>
                    </a:lnTo>
                    <a:lnTo>
                      <a:pt x="142" y="179"/>
                    </a:lnTo>
                    <a:lnTo>
                      <a:pt x="84" y="193"/>
                    </a:lnTo>
                    <a:lnTo>
                      <a:pt x="78" y="231"/>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93" name="Freeform 12">
                <a:extLst>
                  <a:ext uri="{FF2B5EF4-FFF2-40B4-BE49-F238E27FC236}">
                    <a16:creationId xmlns:a16="http://schemas.microsoft.com/office/drawing/2014/main" id="{D0D56C5E-1963-4B15-9F0F-DA179E65AEB5}"/>
                  </a:ext>
                </a:extLst>
              </p:cNvPr>
              <p:cNvSpPr>
                <a:spLocks/>
              </p:cNvSpPr>
              <p:nvPr/>
            </p:nvSpPr>
            <p:spPr bwMode="gray">
              <a:xfrm>
                <a:off x="3678928" y="1427986"/>
                <a:ext cx="910330" cy="933443"/>
              </a:xfrm>
              <a:custGeom>
                <a:avLst/>
                <a:gdLst>
                  <a:gd name="T0" fmla="*/ 851656 w 512"/>
                  <a:gd name="T1" fmla="*/ 282700 h 525"/>
                  <a:gd name="T2" fmla="*/ 753867 w 512"/>
                  <a:gd name="T3" fmla="*/ 328927 h 525"/>
                  <a:gd name="T4" fmla="*/ 625852 w 512"/>
                  <a:gd name="T5" fmla="*/ 259586 h 525"/>
                  <a:gd name="T6" fmla="*/ 560066 w 512"/>
                  <a:gd name="T7" fmla="*/ 336039 h 525"/>
                  <a:gd name="T8" fmla="*/ 563622 w 512"/>
                  <a:gd name="T9" fmla="*/ 296924 h 525"/>
                  <a:gd name="T10" fmla="*/ 545842 w 512"/>
                  <a:gd name="T11" fmla="*/ 241806 h 525"/>
                  <a:gd name="T12" fmla="*/ 440941 w 512"/>
                  <a:gd name="T13" fmla="*/ 250696 h 525"/>
                  <a:gd name="T14" fmla="*/ 513839 w 512"/>
                  <a:gd name="T15" fmla="*/ 117347 h 525"/>
                  <a:gd name="T16" fmla="*/ 334262 w 512"/>
                  <a:gd name="T17" fmla="*/ 14224 h 525"/>
                  <a:gd name="T18" fmla="*/ 62230 w 512"/>
                  <a:gd name="T19" fmla="*/ 0 h 525"/>
                  <a:gd name="T20" fmla="*/ 1778 w 512"/>
                  <a:gd name="T21" fmla="*/ 58674 h 525"/>
                  <a:gd name="T22" fmla="*/ 152907 w 512"/>
                  <a:gd name="T23" fmla="*/ 280922 h 525"/>
                  <a:gd name="T24" fmla="*/ 19558 w 512"/>
                  <a:gd name="T25" fmla="*/ 312926 h 525"/>
                  <a:gd name="T26" fmla="*/ 30226 w 512"/>
                  <a:gd name="T27" fmla="*/ 382267 h 525"/>
                  <a:gd name="T28" fmla="*/ 115569 w 512"/>
                  <a:gd name="T29" fmla="*/ 387601 h 525"/>
                  <a:gd name="T30" fmla="*/ 85343 w 512"/>
                  <a:gd name="T31" fmla="*/ 462277 h 525"/>
                  <a:gd name="T32" fmla="*/ 152907 w 512"/>
                  <a:gd name="T33" fmla="*/ 520950 h 525"/>
                  <a:gd name="T34" fmla="*/ 99567 w 512"/>
                  <a:gd name="T35" fmla="*/ 536952 h 525"/>
                  <a:gd name="T36" fmla="*/ 252474 w 512"/>
                  <a:gd name="T37" fmla="*/ 613405 h 525"/>
                  <a:gd name="T38" fmla="*/ 432051 w 512"/>
                  <a:gd name="T39" fmla="*/ 810762 h 525"/>
                  <a:gd name="T40" fmla="*/ 449831 w 512"/>
                  <a:gd name="T41" fmla="*/ 764534 h 525"/>
                  <a:gd name="T42" fmla="*/ 485391 w 512"/>
                  <a:gd name="T43" fmla="*/ 755644 h 525"/>
                  <a:gd name="T44" fmla="*/ 576068 w 512"/>
                  <a:gd name="T45" fmla="*/ 675635 h 525"/>
                  <a:gd name="T46" fmla="*/ 590292 w 512"/>
                  <a:gd name="T47" fmla="*/ 723640 h 525"/>
                  <a:gd name="T48" fmla="*/ 579624 w 512"/>
                  <a:gd name="T49" fmla="*/ 805428 h 525"/>
                  <a:gd name="T50" fmla="*/ 675635 w 512"/>
                  <a:gd name="T51" fmla="*/ 881881 h 525"/>
                  <a:gd name="T52" fmla="*/ 725419 w 512"/>
                  <a:gd name="T53" fmla="*/ 912107 h 525"/>
                  <a:gd name="T54" fmla="*/ 753867 w 512"/>
                  <a:gd name="T55" fmla="*/ 933443 h 525"/>
                  <a:gd name="T56" fmla="*/ 764535 w 512"/>
                  <a:gd name="T57" fmla="*/ 874769 h 525"/>
                  <a:gd name="T58" fmla="*/ 824986 w 512"/>
                  <a:gd name="T59" fmla="*/ 817874 h 525"/>
                  <a:gd name="T60" fmla="*/ 876548 w 512"/>
                  <a:gd name="T61" fmla="*/ 712973 h 525"/>
                  <a:gd name="T62" fmla="*/ 807207 w 512"/>
                  <a:gd name="T63" fmla="*/ 599181 h 525"/>
                  <a:gd name="T64" fmla="*/ 844544 w 512"/>
                  <a:gd name="T65" fmla="*/ 574290 h 525"/>
                  <a:gd name="T66" fmla="*/ 844544 w 512"/>
                  <a:gd name="T67" fmla="*/ 574290 h 525"/>
                  <a:gd name="T68" fmla="*/ 832098 w 512"/>
                  <a:gd name="T69" fmla="*/ 528062 h 525"/>
                  <a:gd name="T70" fmla="*/ 789427 w 512"/>
                  <a:gd name="T71" fmla="*/ 487168 h 525"/>
                  <a:gd name="T72" fmla="*/ 910330 w 512"/>
                  <a:gd name="T73" fmla="*/ 389379 h 5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2"/>
                  <a:gd name="T112" fmla="*/ 0 h 525"/>
                  <a:gd name="T113" fmla="*/ 512 w 512"/>
                  <a:gd name="T114" fmla="*/ 525 h 52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2" h="525">
                    <a:moveTo>
                      <a:pt x="505" y="168"/>
                    </a:moveTo>
                    <a:lnTo>
                      <a:pt x="479" y="159"/>
                    </a:lnTo>
                    <a:lnTo>
                      <a:pt x="435" y="189"/>
                    </a:lnTo>
                    <a:lnTo>
                      <a:pt x="424" y="185"/>
                    </a:lnTo>
                    <a:lnTo>
                      <a:pt x="413" y="171"/>
                    </a:lnTo>
                    <a:lnTo>
                      <a:pt x="352" y="146"/>
                    </a:lnTo>
                    <a:lnTo>
                      <a:pt x="334" y="154"/>
                    </a:lnTo>
                    <a:lnTo>
                      <a:pt x="315" y="189"/>
                    </a:lnTo>
                    <a:lnTo>
                      <a:pt x="311" y="186"/>
                    </a:lnTo>
                    <a:lnTo>
                      <a:pt x="317" y="167"/>
                    </a:lnTo>
                    <a:lnTo>
                      <a:pt x="322" y="144"/>
                    </a:lnTo>
                    <a:lnTo>
                      <a:pt x="307" y="136"/>
                    </a:lnTo>
                    <a:lnTo>
                      <a:pt x="261" y="147"/>
                    </a:lnTo>
                    <a:lnTo>
                      <a:pt x="248" y="141"/>
                    </a:lnTo>
                    <a:lnTo>
                      <a:pt x="286" y="119"/>
                    </a:lnTo>
                    <a:lnTo>
                      <a:pt x="289" y="66"/>
                    </a:lnTo>
                    <a:lnTo>
                      <a:pt x="273" y="37"/>
                    </a:lnTo>
                    <a:lnTo>
                      <a:pt x="188" y="8"/>
                    </a:lnTo>
                    <a:lnTo>
                      <a:pt x="168" y="19"/>
                    </a:lnTo>
                    <a:lnTo>
                      <a:pt x="35" y="0"/>
                    </a:lnTo>
                    <a:lnTo>
                      <a:pt x="0" y="10"/>
                    </a:lnTo>
                    <a:lnTo>
                      <a:pt x="1" y="33"/>
                    </a:lnTo>
                    <a:lnTo>
                      <a:pt x="70" y="117"/>
                    </a:lnTo>
                    <a:lnTo>
                      <a:pt x="86" y="158"/>
                    </a:lnTo>
                    <a:lnTo>
                      <a:pt x="75" y="159"/>
                    </a:lnTo>
                    <a:lnTo>
                      <a:pt x="11" y="176"/>
                    </a:lnTo>
                    <a:lnTo>
                      <a:pt x="1" y="193"/>
                    </a:lnTo>
                    <a:lnTo>
                      <a:pt x="17" y="215"/>
                    </a:lnTo>
                    <a:lnTo>
                      <a:pt x="63" y="205"/>
                    </a:lnTo>
                    <a:lnTo>
                      <a:pt x="65" y="218"/>
                    </a:lnTo>
                    <a:lnTo>
                      <a:pt x="50" y="221"/>
                    </a:lnTo>
                    <a:lnTo>
                      <a:pt x="48" y="260"/>
                    </a:lnTo>
                    <a:lnTo>
                      <a:pt x="79" y="265"/>
                    </a:lnTo>
                    <a:lnTo>
                      <a:pt x="86" y="293"/>
                    </a:lnTo>
                    <a:lnTo>
                      <a:pt x="58" y="289"/>
                    </a:lnTo>
                    <a:lnTo>
                      <a:pt x="56" y="302"/>
                    </a:lnTo>
                    <a:lnTo>
                      <a:pt x="85" y="342"/>
                    </a:lnTo>
                    <a:lnTo>
                      <a:pt x="142" y="345"/>
                    </a:lnTo>
                    <a:lnTo>
                      <a:pt x="204" y="412"/>
                    </a:lnTo>
                    <a:lnTo>
                      <a:pt x="243" y="456"/>
                    </a:lnTo>
                    <a:lnTo>
                      <a:pt x="248" y="432"/>
                    </a:lnTo>
                    <a:lnTo>
                      <a:pt x="253" y="430"/>
                    </a:lnTo>
                    <a:lnTo>
                      <a:pt x="264" y="444"/>
                    </a:lnTo>
                    <a:lnTo>
                      <a:pt x="273" y="425"/>
                    </a:lnTo>
                    <a:lnTo>
                      <a:pt x="297" y="410"/>
                    </a:lnTo>
                    <a:lnTo>
                      <a:pt x="324" y="380"/>
                    </a:lnTo>
                    <a:lnTo>
                      <a:pt x="334" y="381"/>
                    </a:lnTo>
                    <a:lnTo>
                      <a:pt x="332" y="407"/>
                    </a:lnTo>
                    <a:lnTo>
                      <a:pt x="338" y="420"/>
                    </a:lnTo>
                    <a:lnTo>
                      <a:pt x="326" y="453"/>
                    </a:lnTo>
                    <a:lnTo>
                      <a:pt x="336" y="457"/>
                    </a:lnTo>
                    <a:lnTo>
                      <a:pt x="380" y="496"/>
                    </a:lnTo>
                    <a:lnTo>
                      <a:pt x="383" y="506"/>
                    </a:lnTo>
                    <a:lnTo>
                      <a:pt x="408" y="513"/>
                    </a:lnTo>
                    <a:lnTo>
                      <a:pt x="417" y="524"/>
                    </a:lnTo>
                    <a:lnTo>
                      <a:pt x="424" y="525"/>
                    </a:lnTo>
                    <a:lnTo>
                      <a:pt x="433" y="519"/>
                    </a:lnTo>
                    <a:lnTo>
                      <a:pt x="430" y="492"/>
                    </a:lnTo>
                    <a:lnTo>
                      <a:pt x="463" y="468"/>
                    </a:lnTo>
                    <a:lnTo>
                      <a:pt x="464" y="460"/>
                    </a:lnTo>
                    <a:lnTo>
                      <a:pt x="487" y="438"/>
                    </a:lnTo>
                    <a:lnTo>
                      <a:pt x="493" y="401"/>
                    </a:lnTo>
                    <a:lnTo>
                      <a:pt x="455" y="380"/>
                    </a:lnTo>
                    <a:lnTo>
                      <a:pt x="454" y="337"/>
                    </a:lnTo>
                    <a:lnTo>
                      <a:pt x="471" y="331"/>
                    </a:lnTo>
                    <a:lnTo>
                      <a:pt x="475" y="323"/>
                    </a:lnTo>
                    <a:lnTo>
                      <a:pt x="482" y="307"/>
                    </a:lnTo>
                    <a:lnTo>
                      <a:pt x="475" y="323"/>
                    </a:lnTo>
                    <a:lnTo>
                      <a:pt x="475" y="297"/>
                    </a:lnTo>
                    <a:lnTo>
                      <a:pt x="468" y="297"/>
                    </a:lnTo>
                    <a:lnTo>
                      <a:pt x="460" y="300"/>
                    </a:lnTo>
                    <a:lnTo>
                      <a:pt x="444" y="274"/>
                    </a:lnTo>
                    <a:lnTo>
                      <a:pt x="508" y="226"/>
                    </a:lnTo>
                    <a:lnTo>
                      <a:pt x="512" y="219"/>
                    </a:lnTo>
                    <a:lnTo>
                      <a:pt x="505" y="168"/>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94" name="Freeform 13">
                <a:extLst>
                  <a:ext uri="{FF2B5EF4-FFF2-40B4-BE49-F238E27FC236}">
                    <a16:creationId xmlns:a16="http://schemas.microsoft.com/office/drawing/2014/main" id="{3B4C8FD3-5C0D-42BC-A55A-BE44DEA1BA43}"/>
                  </a:ext>
                </a:extLst>
              </p:cNvPr>
              <p:cNvSpPr>
                <a:spLocks/>
              </p:cNvSpPr>
              <p:nvPr/>
            </p:nvSpPr>
            <p:spPr bwMode="gray">
              <a:xfrm>
                <a:off x="4539474" y="1611119"/>
                <a:ext cx="120903" cy="85343"/>
              </a:xfrm>
              <a:custGeom>
                <a:avLst/>
                <a:gdLst>
                  <a:gd name="T0" fmla="*/ 42743 w 99"/>
                  <a:gd name="T1" fmla="*/ 85343 h 70"/>
                  <a:gd name="T2" fmla="*/ 0 w 99"/>
                  <a:gd name="T3" fmla="*/ 60959 h 70"/>
                  <a:gd name="T4" fmla="*/ 15876 w 99"/>
                  <a:gd name="T5" fmla="*/ 3658 h 70"/>
                  <a:gd name="T6" fmla="*/ 58620 w 99"/>
                  <a:gd name="T7" fmla="*/ 0 h 70"/>
                  <a:gd name="T8" fmla="*/ 101363 w 99"/>
                  <a:gd name="T9" fmla="*/ 31699 h 70"/>
                  <a:gd name="T10" fmla="*/ 120903 w 99"/>
                  <a:gd name="T11" fmla="*/ 85343 h 70"/>
                  <a:gd name="T12" fmla="*/ 42743 w 99"/>
                  <a:gd name="T13" fmla="*/ 85343 h 70"/>
                  <a:gd name="T14" fmla="*/ 0 60000 65536"/>
                  <a:gd name="T15" fmla="*/ 0 60000 65536"/>
                  <a:gd name="T16" fmla="*/ 0 60000 65536"/>
                  <a:gd name="T17" fmla="*/ 0 60000 65536"/>
                  <a:gd name="T18" fmla="*/ 0 60000 65536"/>
                  <a:gd name="T19" fmla="*/ 0 60000 65536"/>
                  <a:gd name="T20" fmla="*/ 0 60000 65536"/>
                  <a:gd name="T21" fmla="*/ 0 w 99"/>
                  <a:gd name="T22" fmla="*/ 0 h 70"/>
                  <a:gd name="T23" fmla="*/ 99 w 99"/>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70">
                    <a:moveTo>
                      <a:pt x="35" y="70"/>
                    </a:moveTo>
                    <a:lnTo>
                      <a:pt x="0" y="50"/>
                    </a:lnTo>
                    <a:lnTo>
                      <a:pt x="13" y="3"/>
                    </a:lnTo>
                    <a:lnTo>
                      <a:pt x="48" y="0"/>
                    </a:lnTo>
                    <a:lnTo>
                      <a:pt x="83" y="26"/>
                    </a:lnTo>
                    <a:lnTo>
                      <a:pt x="99" y="70"/>
                    </a:lnTo>
                    <a:lnTo>
                      <a:pt x="35" y="70"/>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95" name="Freeform 14">
                <a:extLst>
                  <a:ext uri="{FF2B5EF4-FFF2-40B4-BE49-F238E27FC236}">
                    <a16:creationId xmlns:a16="http://schemas.microsoft.com/office/drawing/2014/main" id="{8C66FFE3-410D-408A-93BF-FBC82D57A48A}"/>
                  </a:ext>
                </a:extLst>
              </p:cNvPr>
              <p:cNvSpPr>
                <a:spLocks/>
              </p:cNvSpPr>
              <p:nvPr/>
            </p:nvSpPr>
            <p:spPr bwMode="gray">
              <a:xfrm>
                <a:off x="3542023" y="1331975"/>
                <a:ext cx="97789" cy="199135"/>
              </a:xfrm>
              <a:custGeom>
                <a:avLst/>
                <a:gdLst>
                  <a:gd name="T0" fmla="*/ 84343 w 80"/>
                  <a:gd name="T1" fmla="*/ 15882 h 163"/>
                  <a:gd name="T2" fmla="*/ 51339 w 80"/>
                  <a:gd name="T3" fmla="*/ 100178 h 163"/>
                  <a:gd name="T4" fmla="*/ 97789 w 80"/>
                  <a:gd name="T5" fmla="*/ 100178 h 163"/>
                  <a:gd name="T6" fmla="*/ 96567 w 80"/>
                  <a:gd name="T7" fmla="*/ 118504 h 163"/>
                  <a:gd name="T8" fmla="*/ 57451 w 80"/>
                  <a:gd name="T9" fmla="*/ 140494 h 163"/>
                  <a:gd name="T10" fmla="*/ 39116 w 80"/>
                  <a:gd name="T11" fmla="*/ 135607 h 163"/>
                  <a:gd name="T12" fmla="*/ 29337 w 80"/>
                  <a:gd name="T13" fmla="*/ 199135 h 163"/>
                  <a:gd name="T14" fmla="*/ 0 w 80"/>
                  <a:gd name="T15" fmla="*/ 195470 h 163"/>
                  <a:gd name="T16" fmla="*/ 15891 w 80"/>
                  <a:gd name="T17" fmla="*/ 73301 h 163"/>
                  <a:gd name="T18" fmla="*/ 48895 w 80"/>
                  <a:gd name="T19" fmla="*/ 0 h 163"/>
                  <a:gd name="T20" fmla="*/ 84343 w 80"/>
                  <a:gd name="T21" fmla="*/ 15882 h 1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163"/>
                  <a:gd name="T35" fmla="*/ 80 w 80"/>
                  <a:gd name="T36" fmla="*/ 163 h 1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163">
                    <a:moveTo>
                      <a:pt x="69" y="13"/>
                    </a:moveTo>
                    <a:lnTo>
                      <a:pt x="42" y="82"/>
                    </a:lnTo>
                    <a:lnTo>
                      <a:pt x="80" y="82"/>
                    </a:lnTo>
                    <a:lnTo>
                      <a:pt x="79" y="97"/>
                    </a:lnTo>
                    <a:lnTo>
                      <a:pt x="47" y="115"/>
                    </a:lnTo>
                    <a:lnTo>
                      <a:pt x="32" y="111"/>
                    </a:lnTo>
                    <a:lnTo>
                      <a:pt x="24" y="163"/>
                    </a:lnTo>
                    <a:lnTo>
                      <a:pt x="0" y="160"/>
                    </a:lnTo>
                    <a:lnTo>
                      <a:pt x="13" y="60"/>
                    </a:lnTo>
                    <a:lnTo>
                      <a:pt x="40" y="0"/>
                    </a:lnTo>
                    <a:lnTo>
                      <a:pt x="69" y="13"/>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96" name="Freeform 15">
                <a:extLst>
                  <a:ext uri="{FF2B5EF4-FFF2-40B4-BE49-F238E27FC236}">
                    <a16:creationId xmlns:a16="http://schemas.microsoft.com/office/drawing/2014/main" id="{FDCE90F6-A0D7-4988-9E03-BB2E063F8C39}"/>
                  </a:ext>
                </a:extLst>
              </p:cNvPr>
              <p:cNvSpPr>
                <a:spLocks/>
              </p:cNvSpPr>
              <p:nvPr/>
            </p:nvSpPr>
            <p:spPr bwMode="gray">
              <a:xfrm>
                <a:off x="3597141" y="1507996"/>
                <a:ext cx="81787" cy="62230"/>
              </a:xfrm>
              <a:custGeom>
                <a:avLst/>
                <a:gdLst>
                  <a:gd name="T0" fmla="*/ 81787 w 66"/>
                  <a:gd name="T1" fmla="*/ 16180 h 50"/>
                  <a:gd name="T2" fmla="*/ 70634 w 66"/>
                  <a:gd name="T3" fmla="*/ 53518 h 50"/>
                  <a:gd name="T4" fmla="*/ 26023 w 66"/>
                  <a:gd name="T5" fmla="*/ 62230 h 50"/>
                  <a:gd name="T6" fmla="*/ 0 w 66"/>
                  <a:gd name="T7" fmla="*/ 44806 h 50"/>
                  <a:gd name="T8" fmla="*/ 21066 w 66"/>
                  <a:gd name="T9" fmla="*/ 4978 h 50"/>
                  <a:gd name="T10" fmla="*/ 71873 w 66"/>
                  <a:gd name="T11" fmla="*/ 0 h 50"/>
                  <a:gd name="T12" fmla="*/ 81787 w 66"/>
                  <a:gd name="T13" fmla="*/ 16180 h 50"/>
                  <a:gd name="T14" fmla="*/ 0 60000 65536"/>
                  <a:gd name="T15" fmla="*/ 0 60000 65536"/>
                  <a:gd name="T16" fmla="*/ 0 60000 65536"/>
                  <a:gd name="T17" fmla="*/ 0 60000 65536"/>
                  <a:gd name="T18" fmla="*/ 0 60000 65536"/>
                  <a:gd name="T19" fmla="*/ 0 60000 65536"/>
                  <a:gd name="T20" fmla="*/ 0 60000 65536"/>
                  <a:gd name="T21" fmla="*/ 0 w 66"/>
                  <a:gd name="T22" fmla="*/ 0 h 50"/>
                  <a:gd name="T23" fmla="*/ 66 w 66"/>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 h="50">
                    <a:moveTo>
                      <a:pt x="66" y="13"/>
                    </a:moveTo>
                    <a:lnTo>
                      <a:pt x="57" y="43"/>
                    </a:lnTo>
                    <a:lnTo>
                      <a:pt x="21" y="50"/>
                    </a:lnTo>
                    <a:lnTo>
                      <a:pt x="0" y="36"/>
                    </a:lnTo>
                    <a:lnTo>
                      <a:pt x="17" y="4"/>
                    </a:lnTo>
                    <a:lnTo>
                      <a:pt x="58" y="0"/>
                    </a:lnTo>
                    <a:lnTo>
                      <a:pt x="66" y="13"/>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97" name="Freeform 16">
                <a:extLst>
                  <a:ext uri="{FF2B5EF4-FFF2-40B4-BE49-F238E27FC236}">
                    <a16:creationId xmlns:a16="http://schemas.microsoft.com/office/drawing/2014/main" id="{C412F604-53C7-4356-A47C-5892FD937CD5}"/>
                  </a:ext>
                </a:extLst>
              </p:cNvPr>
              <p:cNvSpPr>
                <a:spLocks/>
              </p:cNvSpPr>
              <p:nvPr/>
            </p:nvSpPr>
            <p:spPr bwMode="gray">
              <a:xfrm>
                <a:off x="2697479" y="2884158"/>
                <a:ext cx="1344158" cy="1376162"/>
              </a:xfrm>
              <a:custGeom>
                <a:avLst/>
                <a:gdLst>
                  <a:gd name="T0" fmla="*/ 707639 w 756"/>
                  <a:gd name="T1" fmla="*/ 1017009 h 774"/>
                  <a:gd name="T2" fmla="*/ 688081 w 756"/>
                  <a:gd name="T3" fmla="*/ 1098796 h 774"/>
                  <a:gd name="T4" fmla="*/ 643631 w 756"/>
                  <a:gd name="T5" fmla="*/ 1104130 h 774"/>
                  <a:gd name="T6" fmla="*/ 330706 w 756"/>
                  <a:gd name="T7" fmla="*/ 1306821 h 774"/>
                  <a:gd name="T8" fmla="*/ 222248 w 756"/>
                  <a:gd name="T9" fmla="*/ 1376162 h 774"/>
                  <a:gd name="T10" fmla="*/ 177799 w 756"/>
                  <a:gd name="T11" fmla="*/ 1315710 h 774"/>
                  <a:gd name="T12" fmla="*/ 30226 w 756"/>
                  <a:gd name="T13" fmla="*/ 1084572 h 774"/>
                  <a:gd name="T14" fmla="*/ 48006 w 756"/>
                  <a:gd name="T15" fmla="*/ 974337 h 774"/>
                  <a:gd name="T16" fmla="*/ 0 w 756"/>
                  <a:gd name="T17" fmla="*/ 929887 h 774"/>
                  <a:gd name="T18" fmla="*/ 129793 w 756"/>
                  <a:gd name="T19" fmla="*/ 636519 h 774"/>
                  <a:gd name="T20" fmla="*/ 24892 w 756"/>
                  <a:gd name="T21" fmla="*/ 448053 h 774"/>
                  <a:gd name="T22" fmla="*/ 211580 w 756"/>
                  <a:gd name="T23" fmla="*/ 432051 h 774"/>
                  <a:gd name="T24" fmla="*/ 353819 w 756"/>
                  <a:gd name="T25" fmla="*/ 346707 h 774"/>
                  <a:gd name="T26" fmla="*/ 328928 w 756"/>
                  <a:gd name="T27" fmla="*/ 263142 h 774"/>
                  <a:gd name="T28" fmla="*/ 446275 w 756"/>
                  <a:gd name="T29" fmla="*/ 184911 h 774"/>
                  <a:gd name="T30" fmla="*/ 625851 w 756"/>
                  <a:gd name="T31" fmla="*/ 110235 h 774"/>
                  <a:gd name="T32" fmla="*/ 679191 w 756"/>
                  <a:gd name="T33" fmla="*/ 49784 h 774"/>
                  <a:gd name="T34" fmla="*/ 753866 w 756"/>
                  <a:gd name="T35" fmla="*/ 213358 h 774"/>
                  <a:gd name="T36" fmla="*/ 787648 w 756"/>
                  <a:gd name="T37" fmla="*/ 252474 h 774"/>
                  <a:gd name="T38" fmla="*/ 796538 w 756"/>
                  <a:gd name="T39" fmla="*/ 316482 h 774"/>
                  <a:gd name="T40" fmla="*/ 947667 w 756"/>
                  <a:gd name="T41" fmla="*/ 257808 h 774"/>
                  <a:gd name="T42" fmla="*/ 897883 w 756"/>
                  <a:gd name="T43" fmla="*/ 53340 h 774"/>
                  <a:gd name="T44" fmla="*/ 1054346 w 756"/>
                  <a:gd name="T45" fmla="*/ 16002 h 774"/>
                  <a:gd name="T46" fmla="*/ 1157469 w 756"/>
                  <a:gd name="T47" fmla="*/ 72897 h 774"/>
                  <a:gd name="T48" fmla="*/ 1217921 w 756"/>
                  <a:gd name="T49" fmla="*/ 72897 h 774"/>
                  <a:gd name="T50" fmla="*/ 1306820 w 756"/>
                  <a:gd name="T51" fmla="*/ 414271 h 774"/>
                  <a:gd name="T52" fmla="*/ 1338824 w 756"/>
                  <a:gd name="T53" fmla="*/ 556510 h 774"/>
                  <a:gd name="T54" fmla="*/ 1216143 w 756"/>
                  <a:gd name="T55" fmla="*/ 691637 h 774"/>
                  <a:gd name="T56" fmla="*/ 1137912 w 756"/>
                  <a:gd name="T57" fmla="*/ 657855 h 774"/>
                  <a:gd name="T58" fmla="*/ 1043678 w 756"/>
                  <a:gd name="T59" fmla="*/ 800094 h 774"/>
                  <a:gd name="T60" fmla="*/ 1102352 w 756"/>
                  <a:gd name="T61" fmla="*/ 846322 h 774"/>
                  <a:gd name="T62" fmla="*/ 860546 w 756"/>
                  <a:gd name="T63" fmla="*/ 1157470 h 7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56"/>
                  <a:gd name="T97" fmla="*/ 0 h 774"/>
                  <a:gd name="T98" fmla="*/ 756 w 756"/>
                  <a:gd name="T99" fmla="*/ 774 h 7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56" h="774">
                    <a:moveTo>
                      <a:pt x="406" y="568"/>
                    </a:moveTo>
                    <a:lnTo>
                      <a:pt x="398" y="572"/>
                    </a:lnTo>
                    <a:lnTo>
                      <a:pt x="386" y="601"/>
                    </a:lnTo>
                    <a:lnTo>
                      <a:pt x="387" y="618"/>
                    </a:lnTo>
                    <a:lnTo>
                      <a:pt x="371" y="624"/>
                    </a:lnTo>
                    <a:lnTo>
                      <a:pt x="362" y="621"/>
                    </a:lnTo>
                    <a:lnTo>
                      <a:pt x="190" y="719"/>
                    </a:lnTo>
                    <a:lnTo>
                      <a:pt x="186" y="735"/>
                    </a:lnTo>
                    <a:lnTo>
                      <a:pt x="197" y="773"/>
                    </a:lnTo>
                    <a:lnTo>
                      <a:pt x="125" y="774"/>
                    </a:lnTo>
                    <a:lnTo>
                      <a:pt x="99" y="756"/>
                    </a:lnTo>
                    <a:lnTo>
                      <a:pt x="100" y="740"/>
                    </a:lnTo>
                    <a:lnTo>
                      <a:pt x="66" y="711"/>
                    </a:lnTo>
                    <a:lnTo>
                      <a:pt x="17" y="610"/>
                    </a:lnTo>
                    <a:lnTo>
                      <a:pt x="44" y="601"/>
                    </a:lnTo>
                    <a:lnTo>
                      <a:pt x="27" y="548"/>
                    </a:lnTo>
                    <a:lnTo>
                      <a:pt x="5" y="542"/>
                    </a:lnTo>
                    <a:lnTo>
                      <a:pt x="0" y="523"/>
                    </a:lnTo>
                    <a:lnTo>
                      <a:pt x="71" y="424"/>
                    </a:lnTo>
                    <a:lnTo>
                      <a:pt x="73" y="358"/>
                    </a:lnTo>
                    <a:lnTo>
                      <a:pt x="45" y="332"/>
                    </a:lnTo>
                    <a:lnTo>
                      <a:pt x="14" y="252"/>
                    </a:lnTo>
                    <a:lnTo>
                      <a:pt x="50" y="226"/>
                    </a:lnTo>
                    <a:lnTo>
                      <a:pt x="119" y="243"/>
                    </a:lnTo>
                    <a:lnTo>
                      <a:pt x="178" y="232"/>
                    </a:lnTo>
                    <a:lnTo>
                      <a:pt x="199" y="195"/>
                    </a:lnTo>
                    <a:lnTo>
                      <a:pt x="165" y="175"/>
                    </a:lnTo>
                    <a:lnTo>
                      <a:pt x="185" y="148"/>
                    </a:lnTo>
                    <a:lnTo>
                      <a:pt x="202" y="150"/>
                    </a:lnTo>
                    <a:lnTo>
                      <a:pt x="251" y="104"/>
                    </a:lnTo>
                    <a:lnTo>
                      <a:pt x="300" y="99"/>
                    </a:lnTo>
                    <a:lnTo>
                      <a:pt x="352" y="62"/>
                    </a:lnTo>
                    <a:lnTo>
                      <a:pt x="359" y="26"/>
                    </a:lnTo>
                    <a:lnTo>
                      <a:pt x="382" y="28"/>
                    </a:lnTo>
                    <a:lnTo>
                      <a:pt x="438" y="66"/>
                    </a:lnTo>
                    <a:lnTo>
                      <a:pt x="424" y="120"/>
                    </a:lnTo>
                    <a:lnTo>
                      <a:pt x="447" y="127"/>
                    </a:lnTo>
                    <a:lnTo>
                      <a:pt x="443" y="142"/>
                    </a:lnTo>
                    <a:lnTo>
                      <a:pt x="412" y="155"/>
                    </a:lnTo>
                    <a:lnTo>
                      <a:pt x="448" y="178"/>
                    </a:lnTo>
                    <a:lnTo>
                      <a:pt x="505" y="138"/>
                    </a:lnTo>
                    <a:lnTo>
                      <a:pt x="533" y="145"/>
                    </a:lnTo>
                    <a:lnTo>
                      <a:pt x="553" y="126"/>
                    </a:lnTo>
                    <a:lnTo>
                      <a:pt x="505" y="30"/>
                    </a:lnTo>
                    <a:lnTo>
                      <a:pt x="583" y="0"/>
                    </a:lnTo>
                    <a:lnTo>
                      <a:pt x="593" y="9"/>
                    </a:lnTo>
                    <a:lnTo>
                      <a:pt x="593" y="40"/>
                    </a:lnTo>
                    <a:lnTo>
                      <a:pt x="651" y="41"/>
                    </a:lnTo>
                    <a:lnTo>
                      <a:pt x="665" y="16"/>
                    </a:lnTo>
                    <a:lnTo>
                      <a:pt x="685" y="41"/>
                    </a:lnTo>
                    <a:lnTo>
                      <a:pt x="653" y="88"/>
                    </a:lnTo>
                    <a:lnTo>
                      <a:pt x="735" y="233"/>
                    </a:lnTo>
                    <a:lnTo>
                      <a:pt x="756" y="234"/>
                    </a:lnTo>
                    <a:lnTo>
                      <a:pt x="753" y="313"/>
                    </a:lnTo>
                    <a:lnTo>
                      <a:pt x="706" y="390"/>
                    </a:lnTo>
                    <a:lnTo>
                      <a:pt x="684" y="389"/>
                    </a:lnTo>
                    <a:lnTo>
                      <a:pt x="682" y="365"/>
                    </a:lnTo>
                    <a:lnTo>
                      <a:pt x="640" y="370"/>
                    </a:lnTo>
                    <a:lnTo>
                      <a:pt x="574" y="438"/>
                    </a:lnTo>
                    <a:lnTo>
                      <a:pt x="587" y="450"/>
                    </a:lnTo>
                    <a:lnTo>
                      <a:pt x="604" y="438"/>
                    </a:lnTo>
                    <a:lnTo>
                      <a:pt x="620" y="476"/>
                    </a:lnTo>
                    <a:lnTo>
                      <a:pt x="564" y="509"/>
                    </a:lnTo>
                    <a:lnTo>
                      <a:pt x="484" y="651"/>
                    </a:lnTo>
                    <a:lnTo>
                      <a:pt x="406" y="568"/>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98" name="Freeform 17">
                <a:extLst>
                  <a:ext uri="{FF2B5EF4-FFF2-40B4-BE49-F238E27FC236}">
                    <a16:creationId xmlns:a16="http://schemas.microsoft.com/office/drawing/2014/main" id="{3E4F2CA4-AA27-4421-9489-4522F540DFC7}"/>
                  </a:ext>
                </a:extLst>
              </p:cNvPr>
              <p:cNvSpPr>
                <a:spLocks/>
              </p:cNvSpPr>
              <p:nvPr/>
            </p:nvSpPr>
            <p:spPr bwMode="gray">
              <a:xfrm>
                <a:off x="3428232" y="3438890"/>
                <a:ext cx="936999" cy="1321044"/>
              </a:xfrm>
              <a:custGeom>
                <a:avLst/>
                <a:gdLst>
                  <a:gd name="T0" fmla="*/ 131571 w 527"/>
                  <a:gd name="T1" fmla="*/ 600959 h 743"/>
                  <a:gd name="T2" fmla="*/ 272032 w 527"/>
                  <a:gd name="T3" fmla="*/ 350263 h 743"/>
                  <a:gd name="T4" fmla="*/ 371599 w 527"/>
                  <a:gd name="T5" fmla="*/ 291590 h 743"/>
                  <a:gd name="T6" fmla="*/ 343151 w 527"/>
                  <a:gd name="T7" fmla="*/ 224026 h 743"/>
                  <a:gd name="T8" fmla="*/ 312926 w 527"/>
                  <a:gd name="T9" fmla="*/ 245362 h 743"/>
                  <a:gd name="T10" fmla="*/ 289812 w 527"/>
                  <a:gd name="T11" fmla="*/ 224026 h 743"/>
                  <a:gd name="T12" fmla="*/ 407159 w 527"/>
                  <a:gd name="T13" fmla="*/ 103123 h 743"/>
                  <a:gd name="T14" fmla="*/ 481834 w 527"/>
                  <a:gd name="T15" fmla="*/ 94233 h 743"/>
                  <a:gd name="T16" fmla="*/ 485390 w 527"/>
                  <a:gd name="T17" fmla="*/ 136905 h 743"/>
                  <a:gd name="T18" fmla="*/ 524506 w 527"/>
                  <a:gd name="T19" fmla="*/ 138683 h 743"/>
                  <a:gd name="T20" fmla="*/ 608071 w 527"/>
                  <a:gd name="T21" fmla="*/ 1778 h 743"/>
                  <a:gd name="T22" fmla="*/ 696971 w 527"/>
                  <a:gd name="T23" fmla="*/ 0 h 743"/>
                  <a:gd name="T24" fmla="*/ 711195 w 527"/>
                  <a:gd name="T25" fmla="*/ 46228 h 743"/>
                  <a:gd name="T26" fmla="*/ 663189 w 527"/>
                  <a:gd name="T27" fmla="*/ 186689 h 743"/>
                  <a:gd name="T28" fmla="*/ 718307 w 527"/>
                  <a:gd name="T29" fmla="*/ 209802 h 743"/>
                  <a:gd name="T30" fmla="*/ 768090 w 527"/>
                  <a:gd name="T31" fmla="*/ 124459 h 743"/>
                  <a:gd name="T32" fmla="*/ 816096 w 527"/>
                  <a:gd name="T33" fmla="*/ 154685 h 743"/>
                  <a:gd name="T34" fmla="*/ 936999 w 527"/>
                  <a:gd name="T35" fmla="*/ 263142 h 743"/>
                  <a:gd name="T36" fmla="*/ 920997 w 527"/>
                  <a:gd name="T37" fmla="*/ 384045 h 743"/>
                  <a:gd name="T38" fmla="*/ 839210 w 527"/>
                  <a:gd name="T39" fmla="*/ 480056 h 743"/>
                  <a:gd name="T40" fmla="*/ 814318 w 527"/>
                  <a:gd name="T41" fmla="*/ 576068 h 743"/>
                  <a:gd name="T42" fmla="*/ 894327 w 527"/>
                  <a:gd name="T43" fmla="*/ 600959 h 743"/>
                  <a:gd name="T44" fmla="*/ 912107 w 527"/>
                  <a:gd name="T45" fmla="*/ 654299 h 743"/>
                  <a:gd name="T46" fmla="*/ 819652 w 527"/>
                  <a:gd name="T47" fmla="*/ 760978 h 743"/>
                  <a:gd name="T48" fmla="*/ 773424 w 527"/>
                  <a:gd name="T49" fmla="*/ 744976 h 743"/>
                  <a:gd name="T50" fmla="*/ 734308 w 527"/>
                  <a:gd name="T51" fmla="*/ 771646 h 743"/>
                  <a:gd name="T52" fmla="*/ 734308 w 527"/>
                  <a:gd name="T53" fmla="*/ 867657 h 743"/>
                  <a:gd name="T54" fmla="*/ 679191 w 527"/>
                  <a:gd name="T55" fmla="*/ 871213 h 743"/>
                  <a:gd name="T56" fmla="*/ 682747 w 527"/>
                  <a:gd name="T57" fmla="*/ 945889 h 743"/>
                  <a:gd name="T58" fmla="*/ 641853 w 527"/>
                  <a:gd name="T59" fmla="*/ 953001 h 743"/>
                  <a:gd name="T60" fmla="*/ 625851 w 527"/>
                  <a:gd name="T61" fmla="*/ 931665 h 743"/>
                  <a:gd name="T62" fmla="*/ 471166 w 527"/>
                  <a:gd name="T63" fmla="*/ 961891 h 743"/>
                  <a:gd name="T64" fmla="*/ 536952 w 527"/>
                  <a:gd name="T65" fmla="*/ 1191251 h 743"/>
                  <a:gd name="T66" fmla="*/ 531618 w 527"/>
                  <a:gd name="T67" fmla="*/ 1281928 h 743"/>
                  <a:gd name="T68" fmla="*/ 506726 w 527"/>
                  <a:gd name="T69" fmla="*/ 1319266 h 743"/>
                  <a:gd name="T70" fmla="*/ 392935 w 527"/>
                  <a:gd name="T71" fmla="*/ 1321044 h 743"/>
                  <a:gd name="T72" fmla="*/ 380489 w 527"/>
                  <a:gd name="T73" fmla="*/ 1253481 h 743"/>
                  <a:gd name="T74" fmla="*/ 252474 w 527"/>
                  <a:gd name="T75" fmla="*/ 1278372 h 743"/>
                  <a:gd name="T76" fmla="*/ 232916 w 527"/>
                  <a:gd name="T77" fmla="*/ 1237479 h 743"/>
                  <a:gd name="T78" fmla="*/ 245362 w 527"/>
                  <a:gd name="T79" fmla="*/ 1166359 h 743"/>
                  <a:gd name="T80" fmla="*/ 215136 w 527"/>
                  <a:gd name="T81" fmla="*/ 1038344 h 743"/>
                  <a:gd name="T82" fmla="*/ 138683 w 527"/>
                  <a:gd name="T83" fmla="*/ 1024120 h 743"/>
                  <a:gd name="T84" fmla="*/ 81787 w 527"/>
                  <a:gd name="T85" fmla="*/ 1050790 h 743"/>
                  <a:gd name="T86" fmla="*/ 49784 w 527"/>
                  <a:gd name="T87" fmla="*/ 1047234 h 743"/>
                  <a:gd name="T88" fmla="*/ 0 w 527"/>
                  <a:gd name="T89" fmla="*/ 986783 h 743"/>
                  <a:gd name="T90" fmla="*/ 133349 w 527"/>
                  <a:gd name="T91" fmla="*/ 853433 h 743"/>
                  <a:gd name="T92" fmla="*/ 104901 w 527"/>
                  <a:gd name="T93" fmla="*/ 794760 h 743"/>
                  <a:gd name="T94" fmla="*/ 74675 w 527"/>
                  <a:gd name="T95" fmla="*/ 780536 h 743"/>
                  <a:gd name="T96" fmla="*/ 71119 w 527"/>
                  <a:gd name="T97" fmla="*/ 711195 h 743"/>
                  <a:gd name="T98" fmla="*/ 140461 w 527"/>
                  <a:gd name="T99" fmla="*/ 661411 h 743"/>
                  <a:gd name="T100" fmla="*/ 131571 w 527"/>
                  <a:gd name="T101" fmla="*/ 600959 h 74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7"/>
                  <a:gd name="T154" fmla="*/ 0 h 743"/>
                  <a:gd name="T155" fmla="*/ 527 w 527"/>
                  <a:gd name="T156" fmla="*/ 743 h 74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7" h="743">
                    <a:moveTo>
                      <a:pt x="74" y="338"/>
                    </a:moveTo>
                    <a:lnTo>
                      <a:pt x="153" y="197"/>
                    </a:lnTo>
                    <a:lnTo>
                      <a:pt x="209" y="164"/>
                    </a:lnTo>
                    <a:lnTo>
                      <a:pt x="193" y="126"/>
                    </a:lnTo>
                    <a:lnTo>
                      <a:pt x="176" y="138"/>
                    </a:lnTo>
                    <a:lnTo>
                      <a:pt x="163" y="126"/>
                    </a:lnTo>
                    <a:lnTo>
                      <a:pt x="229" y="58"/>
                    </a:lnTo>
                    <a:lnTo>
                      <a:pt x="271" y="53"/>
                    </a:lnTo>
                    <a:lnTo>
                      <a:pt x="273" y="77"/>
                    </a:lnTo>
                    <a:lnTo>
                      <a:pt x="295" y="78"/>
                    </a:lnTo>
                    <a:lnTo>
                      <a:pt x="342" y="1"/>
                    </a:lnTo>
                    <a:lnTo>
                      <a:pt x="392" y="0"/>
                    </a:lnTo>
                    <a:lnTo>
                      <a:pt x="400" y="26"/>
                    </a:lnTo>
                    <a:lnTo>
                      <a:pt x="373" y="105"/>
                    </a:lnTo>
                    <a:lnTo>
                      <a:pt x="404" y="118"/>
                    </a:lnTo>
                    <a:lnTo>
                      <a:pt x="432" y="70"/>
                    </a:lnTo>
                    <a:lnTo>
                      <a:pt x="459" y="87"/>
                    </a:lnTo>
                    <a:lnTo>
                      <a:pt x="527" y="148"/>
                    </a:lnTo>
                    <a:lnTo>
                      <a:pt x="518" y="216"/>
                    </a:lnTo>
                    <a:lnTo>
                      <a:pt x="472" y="270"/>
                    </a:lnTo>
                    <a:lnTo>
                      <a:pt x="458" y="324"/>
                    </a:lnTo>
                    <a:lnTo>
                      <a:pt x="503" y="338"/>
                    </a:lnTo>
                    <a:lnTo>
                      <a:pt x="513" y="368"/>
                    </a:lnTo>
                    <a:lnTo>
                      <a:pt x="461" y="428"/>
                    </a:lnTo>
                    <a:lnTo>
                      <a:pt x="435" y="419"/>
                    </a:lnTo>
                    <a:lnTo>
                      <a:pt x="413" y="434"/>
                    </a:lnTo>
                    <a:lnTo>
                      <a:pt x="413" y="488"/>
                    </a:lnTo>
                    <a:lnTo>
                      <a:pt x="382" y="490"/>
                    </a:lnTo>
                    <a:lnTo>
                      <a:pt x="384" y="532"/>
                    </a:lnTo>
                    <a:lnTo>
                      <a:pt x="361" y="536"/>
                    </a:lnTo>
                    <a:lnTo>
                      <a:pt x="352" y="524"/>
                    </a:lnTo>
                    <a:lnTo>
                      <a:pt x="265" y="541"/>
                    </a:lnTo>
                    <a:lnTo>
                      <a:pt x="302" y="670"/>
                    </a:lnTo>
                    <a:lnTo>
                      <a:pt x="299" y="721"/>
                    </a:lnTo>
                    <a:lnTo>
                      <a:pt x="285" y="742"/>
                    </a:lnTo>
                    <a:lnTo>
                      <a:pt x="221" y="743"/>
                    </a:lnTo>
                    <a:lnTo>
                      <a:pt x="214" y="705"/>
                    </a:lnTo>
                    <a:lnTo>
                      <a:pt x="142" y="719"/>
                    </a:lnTo>
                    <a:lnTo>
                      <a:pt x="131" y="696"/>
                    </a:lnTo>
                    <a:lnTo>
                      <a:pt x="138" y="656"/>
                    </a:lnTo>
                    <a:lnTo>
                      <a:pt x="121" y="584"/>
                    </a:lnTo>
                    <a:lnTo>
                      <a:pt x="78" y="576"/>
                    </a:lnTo>
                    <a:lnTo>
                      <a:pt x="46" y="591"/>
                    </a:lnTo>
                    <a:lnTo>
                      <a:pt x="28" y="589"/>
                    </a:lnTo>
                    <a:lnTo>
                      <a:pt x="0" y="555"/>
                    </a:lnTo>
                    <a:lnTo>
                      <a:pt x="75" y="480"/>
                    </a:lnTo>
                    <a:lnTo>
                      <a:pt x="59" y="447"/>
                    </a:lnTo>
                    <a:lnTo>
                      <a:pt x="42" y="439"/>
                    </a:lnTo>
                    <a:lnTo>
                      <a:pt x="40" y="400"/>
                    </a:lnTo>
                    <a:lnTo>
                      <a:pt x="79" y="372"/>
                    </a:lnTo>
                    <a:lnTo>
                      <a:pt x="74" y="338"/>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99" name="Freeform 18">
                <a:extLst>
                  <a:ext uri="{FF2B5EF4-FFF2-40B4-BE49-F238E27FC236}">
                    <a16:creationId xmlns:a16="http://schemas.microsoft.com/office/drawing/2014/main" id="{6364DA2B-2F9B-47D9-B67D-A264CF94DEBB}"/>
                  </a:ext>
                </a:extLst>
              </p:cNvPr>
              <p:cNvSpPr>
                <a:spLocks/>
              </p:cNvSpPr>
              <p:nvPr/>
            </p:nvSpPr>
            <p:spPr bwMode="gray">
              <a:xfrm>
                <a:off x="2782822" y="3894054"/>
                <a:ext cx="929887" cy="1205475"/>
              </a:xfrm>
              <a:custGeom>
                <a:avLst/>
                <a:gdLst>
                  <a:gd name="T0" fmla="*/ 87121 w 523"/>
                  <a:gd name="T1" fmla="*/ 864101 h 678"/>
                  <a:gd name="T2" fmla="*/ 85343 w 523"/>
                  <a:gd name="T3" fmla="*/ 849878 h 678"/>
                  <a:gd name="T4" fmla="*/ 138683 w 523"/>
                  <a:gd name="T5" fmla="*/ 769868 h 678"/>
                  <a:gd name="T6" fmla="*/ 156463 w 523"/>
                  <a:gd name="T7" fmla="*/ 689859 h 678"/>
                  <a:gd name="T8" fmla="*/ 39116 w 523"/>
                  <a:gd name="T9" fmla="*/ 625851 h 678"/>
                  <a:gd name="T10" fmla="*/ 0 w 523"/>
                  <a:gd name="T11" fmla="*/ 560066 h 678"/>
                  <a:gd name="T12" fmla="*/ 14224 w 523"/>
                  <a:gd name="T13" fmla="*/ 416049 h 678"/>
                  <a:gd name="T14" fmla="*/ 90677 w 523"/>
                  <a:gd name="T15" fmla="*/ 334261 h 678"/>
                  <a:gd name="T16" fmla="*/ 136905 w 523"/>
                  <a:gd name="T17" fmla="*/ 366265 h 678"/>
                  <a:gd name="T18" fmla="*/ 264920 w 523"/>
                  <a:gd name="T19" fmla="*/ 364487 h 678"/>
                  <a:gd name="T20" fmla="*/ 245362 w 523"/>
                  <a:gd name="T21" fmla="*/ 296924 h 678"/>
                  <a:gd name="T22" fmla="*/ 252474 w 523"/>
                  <a:gd name="T23" fmla="*/ 268476 h 678"/>
                  <a:gd name="T24" fmla="*/ 558288 w 523"/>
                  <a:gd name="T25" fmla="*/ 94233 h 678"/>
                  <a:gd name="T26" fmla="*/ 574290 w 523"/>
                  <a:gd name="T27" fmla="*/ 99567 h 678"/>
                  <a:gd name="T28" fmla="*/ 602737 w 523"/>
                  <a:gd name="T29" fmla="*/ 88899 h 678"/>
                  <a:gd name="T30" fmla="*/ 600959 w 523"/>
                  <a:gd name="T31" fmla="*/ 58674 h 678"/>
                  <a:gd name="T32" fmla="*/ 622295 w 523"/>
                  <a:gd name="T33" fmla="*/ 7112 h 678"/>
                  <a:gd name="T34" fmla="*/ 636519 w 523"/>
                  <a:gd name="T35" fmla="*/ 0 h 678"/>
                  <a:gd name="T36" fmla="*/ 776980 w 523"/>
                  <a:gd name="T37" fmla="*/ 145795 h 678"/>
                  <a:gd name="T38" fmla="*/ 785870 w 523"/>
                  <a:gd name="T39" fmla="*/ 206246 h 678"/>
                  <a:gd name="T40" fmla="*/ 716528 w 523"/>
                  <a:gd name="T41" fmla="*/ 256030 h 678"/>
                  <a:gd name="T42" fmla="*/ 720084 w 523"/>
                  <a:gd name="T43" fmla="*/ 325372 h 678"/>
                  <a:gd name="T44" fmla="*/ 750310 w 523"/>
                  <a:gd name="T45" fmla="*/ 339595 h 678"/>
                  <a:gd name="T46" fmla="*/ 778758 w 523"/>
                  <a:gd name="T47" fmla="*/ 398269 h 678"/>
                  <a:gd name="T48" fmla="*/ 645409 w 523"/>
                  <a:gd name="T49" fmla="*/ 531618 h 678"/>
                  <a:gd name="T50" fmla="*/ 695193 w 523"/>
                  <a:gd name="T51" fmla="*/ 592070 h 678"/>
                  <a:gd name="T52" fmla="*/ 727196 w 523"/>
                  <a:gd name="T53" fmla="*/ 595626 h 678"/>
                  <a:gd name="T54" fmla="*/ 784092 w 523"/>
                  <a:gd name="T55" fmla="*/ 568956 h 678"/>
                  <a:gd name="T56" fmla="*/ 860545 w 523"/>
                  <a:gd name="T57" fmla="*/ 583180 h 678"/>
                  <a:gd name="T58" fmla="*/ 890771 w 523"/>
                  <a:gd name="T59" fmla="*/ 711195 h 678"/>
                  <a:gd name="T60" fmla="*/ 878325 w 523"/>
                  <a:gd name="T61" fmla="*/ 782314 h 678"/>
                  <a:gd name="T62" fmla="*/ 897883 w 523"/>
                  <a:gd name="T63" fmla="*/ 823208 h 678"/>
                  <a:gd name="T64" fmla="*/ 903217 w 523"/>
                  <a:gd name="T65" fmla="*/ 881881 h 678"/>
                  <a:gd name="T66" fmla="*/ 929887 w 523"/>
                  <a:gd name="T67" fmla="*/ 940555 h 678"/>
                  <a:gd name="T68" fmla="*/ 915663 w 523"/>
                  <a:gd name="T69" fmla="*/ 999229 h 678"/>
                  <a:gd name="T70" fmla="*/ 926331 w 523"/>
                  <a:gd name="T71" fmla="*/ 1018786 h 678"/>
                  <a:gd name="T72" fmla="*/ 897883 w 523"/>
                  <a:gd name="T73" fmla="*/ 1049012 h 678"/>
                  <a:gd name="T74" fmla="*/ 848099 w 523"/>
                  <a:gd name="T75" fmla="*/ 1205475 h 678"/>
                  <a:gd name="T76" fmla="*/ 753866 w 523"/>
                  <a:gd name="T77" fmla="*/ 1180583 h 678"/>
                  <a:gd name="T78" fmla="*/ 743198 w 523"/>
                  <a:gd name="T79" fmla="*/ 1162803 h 678"/>
                  <a:gd name="T80" fmla="*/ 723640 w 523"/>
                  <a:gd name="T81" fmla="*/ 1152135 h 678"/>
                  <a:gd name="T82" fmla="*/ 693415 w 523"/>
                  <a:gd name="T83" fmla="*/ 1164581 h 678"/>
                  <a:gd name="T84" fmla="*/ 542286 w 523"/>
                  <a:gd name="T85" fmla="*/ 1114798 h 678"/>
                  <a:gd name="T86" fmla="*/ 535174 w 523"/>
                  <a:gd name="T87" fmla="*/ 1086350 h 678"/>
                  <a:gd name="T88" fmla="*/ 490724 w 523"/>
                  <a:gd name="T89" fmla="*/ 1086350 h 678"/>
                  <a:gd name="T90" fmla="*/ 487168 w 523"/>
                  <a:gd name="T91" fmla="*/ 1022342 h 678"/>
                  <a:gd name="T92" fmla="*/ 504948 w 523"/>
                  <a:gd name="T93" fmla="*/ 1013453 h 678"/>
                  <a:gd name="T94" fmla="*/ 503170 w 523"/>
                  <a:gd name="T95" fmla="*/ 970781 h 678"/>
                  <a:gd name="T96" fmla="*/ 449831 w 523"/>
                  <a:gd name="T97" fmla="*/ 938777 h 678"/>
                  <a:gd name="T98" fmla="*/ 449831 w 523"/>
                  <a:gd name="T99" fmla="*/ 926331 h 678"/>
                  <a:gd name="T100" fmla="*/ 467610 w 523"/>
                  <a:gd name="T101" fmla="*/ 906773 h 678"/>
                  <a:gd name="T102" fmla="*/ 455165 w 523"/>
                  <a:gd name="T103" fmla="*/ 849878 h 678"/>
                  <a:gd name="T104" fmla="*/ 359153 w 523"/>
                  <a:gd name="T105" fmla="*/ 808984 h 678"/>
                  <a:gd name="T106" fmla="*/ 325372 w 523"/>
                  <a:gd name="T107" fmla="*/ 808984 h 678"/>
                  <a:gd name="T108" fmla="*/ 192023 w 523"/>
                  <a:gd name="T109" fmla="*/ 874769 h 678"/>
                  <a:gd name="T110" fmla="*/ 87121 w 523"/>
                  <a:gd name="T111" fmla="*/ 864101 h 6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3"/>
                  <a:gd name="T169" fmla="*/ 0 h 678"/>
                  <a:gd name="T170" fmla="*/ 523 w 523"/>
                  <a:gd name="T171" fmla="*/ 678 h 6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3" h="678">
                    <a:moveTo>
                      <a:pt x="49" y="486"/>
                    </a:moveTo>
                    <a:lnTo>
                      <a:pt x="48" y="478"/>
                    </a:lnTo>
                    <a:lnTo>
                      <a:pt x="78" y="433"/>
                    </a:lnTo>
                    <a:lnTo>
                      <a:pt x="88" y="388"/>
                    </a:lnTo>
                    <a:lnTo>
                      <a:pt x="22" y="352"/>
                    </a:lnTo>
                    <a:lnTo>
                      <a:pt x="0" y="315"/>
                    </a:lnTo>
                    <a:lnTo>
                      <a:pt x="8" y="234"/>
                    </a:lnTo>
                    <a:lnTo>
                      <a:pt x="51" y="188"/>
                    </a:lnTo>
                    <a:lnTo>
                      <a:pt x="77" y="206"/>
                    </a:lnTo>
                    <a:lnTo>
                      <a:pt x="149" y="205"/>
                    </a:lnTo>
                    <a:lnTo>
                      <a:pt x="138" y="167"/>
                    </a:lnTo>
                    <a:lnTo>
                      <a:pt x="142" y="151"/>
                    </a:lnTo>
                    <a:lnTo>
                      <a:pt x="314" y="53"/>
                    </a:lnTo>
                    <a:lnTo>
                      <a:pt x="323" y="56"/>
                    </a:lnTo>
                    <a:lnTo>
                      <a:pt x="339" y="50"/>
                    </a:lnTo>
                    <a:lnTo>
                      <a:pt x="338" y="33"/>
                    </a:lnTo>
                    <a:lnTo>
                      <a:pt x="350" y="4"/>
                    </a:lnTo>
                    <a:lnTo>
                      <a:pt x="358" y="0"/>
                    </a:lnTo>
                    <a:lnTo>
                      <a:pt x="437" y="82"/>
                    </a:lnTo>
                    <a:lnTo>
                      <a:pt x="442" y="116"/>
                    </a:lnTo>
                    <a:lnTo>
                      <a:pt x="403" y="144"/>
                    </a:lnTo>
                    <a:lnTo>
                      <a:pt x="405" y="183"/>
                    </a:lnTo>
                    <a:lnTo>
                      <a:pt x="422" y="191"/>
                    </a:lnTo>
                    <a:lnTo>
                      <a:pt x="438" y="224"/>
                    </a:lnTo>
                    <a:lnTo>
                      <a:pt x="363" y="299"/>
                    </a:lnTo>
                    <a:lnTo>
                      <a:pt x="391" y="333"/>
                    </a:lnTo>
                    <a:lnTo>
                      <a:pt x="409" y="335"/>
                    </a:lnTo>
                    <a:lnTo>
                      <a:pt x="441" y="320"/>
                    </a:lnTo>
                    <a:lnTo>
                      <a:pt x="484" y="328"/>
                    </a:lnTo>
                    <a:lnTo>
                      <a:pt x="501" y="400"/>
                    </a:lnTo>
                    <a:lnTo>
                      <a:pt x="494" y="440"/>
                    </a:lnTo>
                    <a:lnTo>
                      <a:pt x="505" y="463"/>
                    </a:lnTo>
                    <a:lnTo>
                      <a:pt x="508" y="496"/>
                    </a:lnTo>
                    <a:lnTo>
                      <a:pt x="523" y="529"/>
                    </a:lnTo>
                    <a:lnTo>
                      <a:pt x="515" y="562"/>
                    </a:lnTo>
                    <a:lnTo>
                      <a:pt x="521" y="573"/>
                    </a:lnTo>
                    <a:lnTo>
                      <a:pt x="505" y="590"/>
                    </a:lnTo>
                    <a:lnTo>
                      <a:pt x="477" y="678"/>
                    </a:lnTo>
                    <a:lnTo>
                      <a:pt x="424" y="664"/>
                    </a:lnTo>
                    <a:lnTo>
                      <a:pt x="418" y="654"/>
                    </a:lnTo>
                    <a:lnTo>
                      <a:pt x="407" y="648"/>
                    </a:lnTo>
                    <a:lnTo>
                      <a:pt x="390" y="655"/>
                    </a:lnTo>
                    <a:lnTo>
                      <a:pt x="305" y="627"/>
                    </a:lnTo>
                    <a:lnTo>
                      <a:pt x="301" y="611"/>
                    </a:lnTo>
                    <a:lnTo>
                      <a:pt x="276" y="611"/>
                    </a:lnTo>
                    <a:lnTo>
                      <a:pt x="274" y="575"/>
                    </a:lnTo>
                    <a:lnTo>
                      <a:pt x="284" y="570"/>
                    </a:lnTo>
                    <a:lnTo>
                      <a:pt x="283" y="546"/>
                    </a:lnTo>
                    <a:lnTo>
                      <a:pt x="253" y="528"/>
                    </a:lnTo>
                    <a:lnTo>
                      <a:pt x="253" y="521"/>
                    </a:lnTo>
                    <a:lnTo>
                      <a:pt x="263" y="510"/>
                    </a:lnTo>
                    <a:lnTo>
                      <a:pt x="256" y="478"/>
                    </a:lnTo>
                    <a:lnTo>
                      <a:pt x="202" y="455"/>
                    </a:lnTo>
                    <a:lnTo>
                      <a:pt x="183" y="455"/>
                    </a:lnTo>
                    <a:lnTo>
                      <a:pt x="108" y="492"/>
                    </a:lnTo>
                    <a:lnTo>
                      <a:pt x="49" y="486"/>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100" name="Freeform 19">
                <a:extLst>
                  <a:ext uri="{FF2B5EF4-FFF2-40B4-BE49-F238E27FC236}">
                    <a16:creationId xmlns:a16="http://schemas.microsoft.com/office/drawing/2014/main" id="{13536948-92E2-4C25-8E28-986406E9FA53}"/>
                  </a:ext>
                </a:extLst>
              </p:cNvPr>
              <p:cNvSpPr>
                <a:spLocks/>
              </p:cNvSpPr>
              <p:nvPr/>
            </p:nvSpPr>
            <p:spPr bwMode="gray">
              <a:xfrm>
                <a:off x="2869944" y="4703038"/>
                <a:ext cx="417827" cy="320038"/>
              </a:xfrm>
              <a:custGeom>
                <a:avLst/>
                <a:gdLst>
                  <a:gd name="T0" fmla="*/ 400047 w 235"/>
                  <a:gd name="T1" fmla="*/ 213359 h 180"/>
                  <a:gd name="T2" fmla="*/ 417827 w 235"/>
                  <a:gd name="T3" fmla="*/ 204469 h 180"/>
                  <a:gd name="T4" fmla="*/ 416049 w 235"/>
                  <a:gd name="T5" fmla="*/ 161797 h 180"/>
                  <a:gd name="T6" fmla="*/ 362709 w 235"/>
                  <a:gd name="T7" fmla="*/ 129793 h 180"/>
                  <a:gd name="T8" fmla="*/ 362709 w 235"/>
                  <a:gd name="T9" fmla="*/ 117347 h 180"/>
                  <a:gd name="T10" fmla="*/ 380489 w 235"/>
                  <a:gd name="T11" fmla="*/ 97789 h 180"/>
                  <a:gd name="T12" fmla="*/ 368043 w 235"/>
                  <a:gd name="T13" fmla="*/ 40894 h 180"/>
                  <a:gd name="T14" fmla="*/ 272032 w 235"/>
                  <a:gd name="T15" fmla="*/ 0 h 180"/>
                  <a:gd name="T16" fmla="*/ 238250 w 235"/>
                  <a:gd name="T17" fmla="*/ 0 h 180"/>
                  <a:gd name="T18" fmla="*/ 104901 w 235"/>
                  <a:gd name="T19" fmla="*/ 65786 h 180"/>
                  <a:gd name="T20" fmla="*/ 0 w 235"/>
                  <a:gd name="T21" fmla="*/ 55118 h 180"/>
                  <a:gd name="T22" fmla="*/ 3556 w 235"/>
                  <a:gd name="T23" fmla="*/ 99567 h 180"/>
                  <a:gd name="T24" fmla="*/ 76453 w 235"/>
                  <a:gd name="T25" fmla="*/ 147573 h 180"/>
                  <a:gd name="T26" fmla="*/ 80009 w 235"/>
                  <a:gd name="T27" fmla="*/ 172465 h 180"/>
                  <a:gd name="T28" fmla="*/ 124459 w 235"/>
                  <a:gd name="T29" fmla="*/ 259586 h 180"/>
                  <a:gd name="T30" fmla="*/ 190245 w 235"/>
                  <a:gd name="T31" fmla="*/ 282700 h 180"/>
                  <a:gd name="T32" fmla="*/ 209802 w 235"/>
                  <a:gd name="T33" fmla="*/ 259586 h 180"/>
                  <a:gd name="T34" fmla="*/ 250696 w 235"/>
                  <a:gd name="T35" fmla="*/ 257808 h 180"/>
                  <a:gd name="T36" fmla="*/ 261364 w 235"/>
                  <a:gd name="T37" fmla="*/ 270254 h 180"/>
                  <a:gd name="T38" fmla="*/ 270254 w 235"/>
                  <a:gd name="T39" fmla="*/ 302258 h 180"/>
                  <a:gd name="T40" fmla="*/ 350264 w 235"/>
                  <a:gd name="T41" fmla="*/ 320038 h 180"/>
                  <a:gd name="T42" fmla="*/ 380489 w 235"/>
                  <a:gd name="T43" fmla="*/ 314704 h 180"/>
                  <a:gd name="T44" fmla="*/ 403603 w 235"/>
                  <a:gd name="T45" fmla="*/ 277366 h 180"/>
                  <a:gd name="T46" fmla="*/ 400047 w 235"/>
                  <a:gd name="T47" fmla="*/ 213359 h 1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5"/>
                  <a:gd name="T73" fmla="*/ 0 h 180"/>
                  <a:gd name="T74" fmla="*/ 235 w 235"/>
                  <a:gd name="T75" fmla="*/ 180 h 1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5" h="180">
                    <a:moveTo>
                      <a:pt x="225" y="120"/>
                    </a:moveTo>
                    <a:lnTo>
                      <a:pt x="235" y="115"/>
                    </a:lnTo>
                    <a:lnTo>
                      <a:pt x="234" y="91"/>
                    </a:lnTo>
                    <a:lnTo>
                      <a:pt x="204" y="73"/>
                    </a:lnTo>
                    <a:lnTo>
                      <a:pt x="204" y="66"/>
                    </a:lnTo>
                    <a:lnTo>
                      <a:pt x="214" y="55"/>
                    </a:lnTo>
                    <a:lnTo>
                      <a:pt x="207" y="23"/>
                    </a:lnTo>
                    <a:lnTo>
                      <a:pt x="153" y="0"/>
                    </a:lnTo>
                    <a:lnTo>
                      <a:pt x="134" y="0"/>
                    </a:lnTo>
                    <a:lnTo>
                      <a:pt x="59" y="37"/>
                    </a:lnTo>
                    <a:lnTo>
                      <a:pt x="0" y="31"/>
                    </a:lnTo>
                    <a:lnTo>
                      <a:pt x="2" y="56"/>
                    </a:lnTo>
                    <a:lnTo>
                      <a:pt x="43" y="83"/>
                    </a:lnTo>
                    <a:lnTo>
                      <a:pt x="45" y="97"/>
                    </a:lnTo>
                    <a:lnTo>
                      <a:pt x="70" y="146"/>
                    </a:lnTo>
                    <a:lnTo>
                      <a:pt x="107" y="159"/>
                    </a:lnTo>
                    <a:lnTo>
                      <a:pt x="118" y="146"/>
                    </a:lnTo>
                    <a:lnTo>
                      <a:pt x="141" y="145"/>
                    </a:lnTo>
                    <a:lnTo>
                      <a:pt x="147" y="152"/>
                    </a:lnTo>
                    <a:lnTo>
                      <a:pt x="152" y="170"/>
                    </a:lnTo>
                    <a:lnTo>
                      <a:pt x="197" y="180"/>
                    </a:lnTo>
                    <a:lnTo>
                      <a:pt x="214" y="177"/>
                    </a:lnTo>
                    <a:lnTo>
                      <a:pt x="227" y="156"/>
                    </a:lnTo>
                    <a:lnTo>
                      <a:pt x="225" y="120"/>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101" name="Freeform 20">
                <a:extLst>
                  <a:ext uri="{FF2B5EF4-FFF2-40B4-BE49-F238E27FC236}">
                    <a16:creationId xmlns:a16="http://schemas.microsoft.com/office/drawing/2014/main" id="{A5C5392F-37EB-484A-9A14-2F997880BCB9}"/>
                  </a:ext>
                </a:extLst>
              </p:cNvPr>
              <p:cNvSpPr>
                <a:spLocks/>
              </p:cNvSpPr>
              <p:nvPr/>
            </p:nvSpPr>
            <p:spPr bwMode="gray">
              <a:xfrm>
                <a:off x="3355334" y="4576801"/>
                <a:ext cx="1191252" cy="1409944"/>
              </a:xfrm>
              <a:custGeom>
                <a:avLst/>
                <a:gdLst>
                  <a:gd name="T0" fmla="*/ 1191252 w 670"/>
                  <a:gd name="T1" fmla="*/ 680969 h 793"/>
                  <a:gd name="T2" fmla="*/ 1098797 w 670"/>
                  <a:gd name="T3" fmla="*/ 709417 h 793"/>
                  <a:gd name="T4" fmla="*/ 1120133 w 670"/>
                  <a:gd name="T5" fmla="*/ 760979 h 793"/>
                  <a:gd name="T6" fmla="*/ 997451 w 670"/>
                  <a:gd name="T7" fmla="*/ 901440 h 793"/>
                  <a:gd name="T8" fmla="*/ 1054347 w 670"/>
                  <a:gd name="T9" fmla="*/ 1052569 h 793"/>
                  <a:gd name="T10" fmla="*/ 1034789 w 670"/>
                  <a:gd name="T11" fmla="*/ 1114798 h 793"/>
                  <a:gd name="T12" fmla="*/ 1082795 w 670"/>
                  <a:gd name="T13" fmla="*/ 1312155 h 793"/>
                  <a:gd name="T14" fmla="*/ 1070349 w 670"/>
                  <a:gd name="T15" fmla="*/ 1328157 h 793"/>
                  <a:gd name="T16" fmla="*/ 880104 w 670"/>
                  <a:gd name="T17" fmla="*/ 1354826 h 793"/>
                  <a:gd name="T18" fmla="*/ 848100 w 670"/>
                  <a:gd name="T19" fmla="*/ 1393942 h 793"/>
                  <a:gd name="T20" fmla="*/ 686303 w 670"/>
                  <a:gd name="T21" fmla="*/ 1328157 h 793"/>
                  <a:gd name="T22" fmla="*/ 597404 w 670"/>
                  <a:gd name="T23" fmla="*/ 1315711 h 793"/>
                  <a:gd name="T24" fmla="*/ 545842 w 670"/>
                  <a:gd name="T25" fmla="*/ 1340603 h 793"/>
                  <a:gd name="T26" fmla="*/ 487169 w 670"/>
                  <a:gd name="T27" fmla="*/ 1321045 h 793"/>
                  <a:gd name="T28" fmla="*/ 464055 w 670"/>
                  <a:gd name="T29" fmla="*/ 1262371 h 793"/>
                  <a:gd name="T30" fmla="*/ 428495 w 670"/>
                  <a:gd name="T31" fmla="*/ 1253481 h 793"/>
                  <a:gd name="T32" fmla="*/ 353820 w 670"/>
                  <a:gd name="T33" fmla="*/ 1264149 h 793"/>
                  <a:gd name="T34" fmla="*/ 330706 w 670"/>
                  <a:gd name="T35" fmla="*/ 1306821 h 793"/>
                  <a:gd name="T36" fmla="*/ 353820 w 670"/>
                  <a:gd name="T37" fmla="*/ 1340603 h 793"/>
                  <a:gd name="T38" fmla="*/ 401825 w 670"/>
                  <a:gd name="T39" fmla="*/ 1321045 h 793"/>
                  <a:gd name="T40" fmla="*/ 428495 w 670"/>
                  <a:gd name="T41" fmla="*/ 1317489 h 793"/>
                  <a:gd name="T42" fmla="*/ 442719 w 670"/>
                  <a:gd name="T43" fmla="*/ 1365494 h 793"/>
                  <a:gd name="T44" fmla="*/ 426717 w 670"/>
                  <a:gd name="T45" fmla="*/ 1383274 h 793"/>
                  <a:gd name="T46" fmla="*/ 325372 w 670"/>
                  <a:gd name="T47" fmla="*/ 1408166 h 793"/>
                  <a:gd name="T48" fmla="*/ 220470 w 670"/>
                  <a:gd name="T49" fmla="*/ 1390386 h 793"/>
                  <a:gd name="T50" fmla="*/ 65786 w 670"/>
                  <a:gd name="T51" fmla="*/ 1409944 h 793"/>
                  <a:gd name="T52" fmla="*/ 21336 w 670"/>
                  <a:gd name="T53" fmla="*/ 1404610 h 793"/>
                  <a:gd name="T54" fmla="*/ 0 w 670"/>
                  <a:gd name="T55" fmla="*/ 1369050 h 793"/>
                  <a:gd name="T56" fmla="*/ 3556 w 670"/>
                  <a:gd name="T57" fmla="*/ 1214365 h 793"/>
                  <a:gd name="T58" fmla="*/ 21336 w 670"/>
                  <a:gd name="T59" fmla="*/ 1201920 h 793"/>
                  <a:gd name="T60" fmla="*/ 26670 w 670"/>
                  <a:gd name="T61" fmla="*/ 1162804 h 793"/>
                  <a:gd name="T62" fmla="*/ 16002 w 670"/>
                  <a:gd name="T63" fmla="*/ 1088128 h 793"/>
                  <a:gd name="T64" fmla="*/ 161797 w 670"/>
                  <a:gd name="T65" fmla="*/ 682747 h 793"/>
                  <a:gd name="T66" fmla="*/ 202691 w 670"/>
                  <a:gd name="T67" fmla="*/ 652521 h 793"/>
                  <a:gd name="T68" fmla="*/ 213359 w 670"/>
                  <a:gd name="T69" fmla="*/ 609850 h 793"/>
                  <a:gd name="T70" fmla="*/ 275588 w 670"/>
                  <a:gd name="T71" fmla="*/ 522728 h 793"/>
                  <a:gd name="T72" fmla="*/ 325372 w 670"/>
                  <a:gd name="T73" fmla="*/ 366265 h 793"/>
                  <a:gd name="T74" fmla="*/ 353820 w 670"/>
                  <a:gd name="T75" fmla="*/ 336040 h 793"/>
                  <a:gd name="T76" fmla="*/ 343152 w 670"/>
                  <a:gd name="T77" fmla="*/ 316482 h 793"/>
                  <a:gd name="T78" fmla="*/ 357376 w 670"/>
                  <a:gd name="T79" fmla="*/ 257808 h 793"/>
                  <a:gd name="T80" fmla="*/ 330706 w 670"/>
                  <a:gd name="T81" fmla="*/ 199135 h 793"/>
                  <a:gd name="T82" fmla="*/ 323594 w 670"/>
                  <a:gd name="T83" fmla="*/ 140461 h 793"/>
                  <a:gd name="T84" fmla="*/ 453387 w 670"/>
                  <a:gd name="T85" fmla="*/ 115569 h 793"/>
                  <a:gd name="T86" fmla="*/ 465833 w 670"/>
                  <a:gd name="T87" fmla="*/ 183133 h 793"/>
                  <a:gd name="T88" fmla="*/ 579624 w 670"/>
                  <a:gd name="T89" fmla="*/ 181355 h 793"/>
                  <a:gd name="T90" fmla="*/ 604516 w 670"/>
                  <a:gd name="T91" fmla="*/ 144017 h 793"/>
                  <a:gd name="T92" fmla="*/ 636520 w 670"/>
                  <a:gd name="T93" fmla="*/ 144017 h 793"/>
                  <a:gd name="T94" fmla="*/ 723641 w 670"/>
                  <a:gd name="T95" fmla="*/ 81787 h 793"/>
                  <a:gd name="T96" fmla="*/ 691637 w 670"/>
                  <a:gd name="T97" fmla="*/ 23114 h 793"/>
                  <a:gd name="T98" fmla="*/ 810762 w 670"/>
                  <a:gd name="T99" fmla="*/ 0 h 793"/>
                  <a:gd name="T100" fmla="*/ 924554 w 670"/>
                  <a:gd name="T101" fmla="*/ 135127 h 793"/>
                  <a:gd name="T102" fmla="*/ 926332 w 670"/>
                  <a:gd name="T103" fmla="*/ 176021 h 793"/>
                  <a:gd name="T104" fmla="*/ 956558 w 670"/>
                  <a:gd name="T105" fmla="*/ 184911 h 793"/>
                  <a:gd name="T106" fmla="*/ 992117 w 670"/>
                  <a:gd name="T107" fmla="*/ 152907 h 793"/>
                  <a:gd name="T108" fmla="*/ 1015231 w 670"/>
                  <a:gd name="T109" fmla="*/ 192023 h 793"/>
                  <a:gd name="T110" fmla="*/ 1089907 w 670"/>
                  <a:gd name="T111" fmla="*/ 464055 h 793"/>
                  <a:gd name="T112" fmla="*/ 1157470 w 670"/>
                  <a:gd name="T113" fmla="*/ 519172 h 793"/>
                  <a:gd name="T114" fmla="*/ 1191252 w 670"/>
                  <a:gd name="T115" fmla="*/ 680969 h 7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0"/>
                  <a:gd name="T175" fmla="*/ 0 h 793"/>
                  <a:gd name="T176" fmla="*/ 670 w 670"/>
                  <a:gd name="T177" fmla="*/ 793 h 7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0" h="793">
                    <a:moveTo>
                      <a:pt x="670" y="383"/>
                    </a:moveTo>
                    <a:lnTo>
                      <a:pt x="618" y="399"/>
                    </a:lnTo>
                    <a:lnTo>
                      <a:pt x="630" y="428"/>
                    </a:lnTo>
                    <a:lnTo>
                      <a:pt x="561" y="507"/>
                    </a:lnTo>
                    <a:lnTo>
                      <a:pt x="593" y="592"/>
                    </a:lnTo>
                    <a:lnTo>
                      <a:pt x="582" y="627"/>
                    </a:lnTo>
                    <a:lnTo>
                      <a:pt x="609" y="738"/>
                    </a:lnTo>
                    <a:lnTo>
                      <a:pt x="602" y="747"/>
                    </a:lnTo>
                    <a:lnTo>
                      <a:pt x="495" y="762"/>
                    </a:lnTo>
                    <a:lnTo>
                      <a:pt x="477" y="784"/>
                    </a:lnTo>
                    <a:lnTo>
                      <a:pt x="386" y="747"/>
                    </a:lnTo>
                    <a:lnTo>
                      <a:pt x="336" y="740"/>
                    </a:lnTo>
                    <a:lnTo>
                      <a:pt x="307" y="754"/>
                    </a:lnTo>
                    <a:lnTo>
                      <a:pt x="274" y="743"/>
                    </a:lnTo>
                    <a:lnTo>
                      <a:pt x="261" y="710"/>
                    </a:lnTo>
                    <a:lnTo>
                      <a:pt x="241" y="705"/>
                    </a:lnTo>
                    <a:lnTo>
                      <a:pt x="199" y="711"/>
                    </a:lnTo>
                    <a:lnTo>
                      <a:pt x="186" y="735"/>
                    </a:lnTo>
                    <a:lnTo>
                      <a:pt x="199" y="754"/>
                    </a:lnTo>
                    <a:lnTo>
                      <a:pt x="226" y="743"/>
                    </a:lnTo>
                    <a:lnTo>
                      <a:pt x="241" y="741"/>
                    </a:lnTo>
                    <a:lnTo>
                      <a:pt x="249" y="768"/>
                    </a:lnTo>
                    <a:lnTo>
                      <a:pt x="240" y="778"/>
                    </a:lnTo>
                    <a:lnTo>
                      <a:pt x="183" y="792"/>
                    </a:lnTo>
                    <a:lnTo>
                      <a:pt x="124" y="782"/>
                    </a:lnTo>
                    <a:lnTo>
                      <a:pt x="37" y="793"/>
                    </a:lnTo>
                    <a:lnTo>
                      <a:pt x="12" y="790"/>
                    </a:lnTo>
                    <a:lnTo>
                      <a:pt x="0" y="770"/>
                    </a:lnTo>
                    <a:lnTo>
                      <a:pt x="2" y="683"/>
                    </a:lnTo>
                    <a:lnTo>
                      <a:pt x="12" y="676"/>
                    </a:lnTo>
                    <a:lnTo>
                      <a:pt x="15" y="654"/>
                    </a:lnTo>
                    <a:lnTo>
                      <a:pt x="9" y="612"/>
                    </a:lnTo>
                    <a:lnTo>
                      <a:pt x="91" y="384"/>
                    </a:lnTo>
                    <a:lnTo>
                      <a:pt x="114" y="367"/>
                    </a:lnTo>
                    <a:lnTo>
                      <a:pt x="120" y="343"/>
                    </a:lnTo>
                    <a:lnTo>
                      <a:pt x="155" y="294"/>
                    </a:lnTo>
                    <a:lnTo>
                      <a:pt x="183" y="206"/>
                    </a:lnTo>
                    <a:lnTo>
                      <a:pt x="199" y="189"/>
                    </a:lnTo>
                    <a:lnTo>
                      <a:pt x="193" y="178"/>
                    </a:lnTo>
                    <a:lnTo>
                      <a:pt x="201" y="145"/>
                    </a:lnTo>
                    <a:lnTo>
                      <a:pt x="186" y="112"/>
                    </a:lnTo>
                    <a:lnTo>
                      <a:pt x="182" y="79"/>
                    </a:lnTo>
                    <a:lnTo>
                      <a:pt x="255" y="65"/>
                    </a:lnTo>
                    <a:lnTo>
                      <a:pt x="262" y="103"/>
                    </a:lnTo>
                    <a:lnTo>
                      <a:pt x="326" y="102"/>
                    </a:lnTo>
                    <a:lnTo>
                      <a:pt x="340" y="81"/>
                    </a:lnTo>
                    <a:lnTo>
                      <a:pt x="358" y="81"/>
                    </a:lnTo>
                    <a:lnTo>
                      <a:pt x="407" y="46"/>
                    </a:lnTo>
                    <a:lnTo>
                      <a:pt x="389" y="13"/>
                    </a:lnTo>
                    <a:lnTo>
                      <a:pt x="456" y="0"/>
                    </a:lnTo>
                    <a:lnTo>
                      <a:pt x="520" y="76"/>
                    </a:lnTo>
                    <a:lnTo>
                      <a:pt x="521" y="99"/>
                    </a:lnTo>
                    <a:lnTo>
                      <a:pt x="538" y="104"/>
                    </a:lnTo>
                    <a:lnTo>
                      <a:pt x="558" y="86"/>
                    </a:lnTo>
                    <a:lnTo>
                      <a:pt x="571" y="108"/>
                    </a:lnTo>
                    <a:lnTo>
                      <a:pt x="613" y="261"/>
                    </a:lnTo>
                    <a:lnTo>
                      <a:pt x="651" y="292"/>
                    </a:lnTo>
                    <a:lnTo>
                      <a:pt x="670" y="383"/>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102" name="Freeform 21">
                <a:extLst>
                  <a:ext uri="{FF2B5EF4-FFF2-40B4-BE49-F238E27FC236}">
                    <a16:creationId xmlns:a16="http://schemas.microsoft.com/office/drawing/2014/main" id="{A3706007-7A45-44AE-BE1F-05F2B8A593CF}"/>
                  </a:ext>
                </a:extLst>
              </p:cNvPr>
              <p:cNvSpPr>
                <a:spLocks/>
              </p:cNvSpPr>
              <p:nvPr/>
            </p:nvSpPr>
            <p:spPr bwMode="gray">
              <a:xfrm>
                <a:off x="3899399" y="4082521"/>
                <a:ext cx="1989568" cy="2028683"/>
              </a:xfrm>
              <a:custGeom>
                <a:avLst/>
                <a:gdLst>
                  <a:gd name="T0" fmla="*/ 471167 w 1119"/>
                  <a:gd name="T1" fmla="*/ 686303 h 1141"/>
                  <a:gd name="T2" fmla="*/ 412493 w 1119"/>
                  <a:gd name="T3" fmla="*/ 679191 h 1141"/>
                  <a:gd name="T4" fmla="*/ 380489 w 1119"/>
                  <a:gd name="T5" fmla="*/ 629407 h 1141"/>
                  <a:gd name="T6" fmla="*/ 147573 w 1119"/>
                  <a:gd name="T7" fmla="*/ 517394 h 1141"/>
                  <a:gd name="T8" fmla="*/ 92455 w 1119"/>
                  <a:gd name="T9" fmla="*/ 638297 h 1141"/>
                  <a:gd name="T10" fmla="*/ 65786 w 1119"/>
                  <a:gd name="T11" fmla="*/ 547620 h 1141"/>
                  <a:gd name="T12" fmla="*/ 154685 w 1119"/>
                  <a:gd name="T13" fmla="*/ 288034 h 1141"/>
                  <a:gd name="T14" fmla="*/ 211580 w 1119"/>
                  <a:gd name="T15" fmla="*/ 302258 h 1141"/>
                  <a:gd name="T16" fmla="*/ 263142 w 1119"/>
                  <a:gd name="T17" fmla="*/ 224026 h 1141"/>
                  <a:gd name="T18" fmla="*/ 302258 w 1119"/>
                  <a:gd name="T19" fmla="*/ 101345 h 1141"/>
                  <a:gd name="T20" fmla="*/ 440941 w 1119"/>
                  <a:gd name="T21" fmla="*/ 10668 h 1141"/>
                  <a:gd name="T22" fmla="*/ 641853 w 1119"/>
                  <a:gd name="T23" fmla="*/ 188467 h 1141"/>
                  <a:gd name="T24" fmla="*/ 732531 w 1119"/>
                  <a:gd name="T25" fmla="*/ 174243 h 1141"/>
                  <a:gd name="T26" fmla="*/ 682747 w 1119"/>
                  <a:gd name="T27" fmla="*/ 124459 h 1141"/>
                  <a:gd name="T28" fmla="*/ 855212 w 1119"/>
                  <a:gd name="T29" fmla="*/ 167131 h 1141"/>
                  <a:gd name="T30" fmla="*/ 897884 w 1119"/>
                  <a:gd name="T31" fmla="*/ 110235 h 1141"/>
                  <a:gd name="T32" fmla="*/ 933443 w 1119"/>
                  <a:gd name="T33" fmla="*/ 0 h 1141"/>
                  <a:gd name="T34" fmla="*/ 1141468 w 1119"/>
                  <a:gd name="T35" fmla="*/ 48006 h 1141"/>
                  <a:gd name="T36" fmla="*/ 1271261 w 1119"/>
                  <a:gd name="T37" fmla="*/ 247140 h 1141"/>
                  <a:gd name="T38" fmla="*/ 1388608 w 1119"/>
                  <a:gd name="T39" fmla="*/ 444497 h 1141"/>
                  <a:gd name="T40" fmla="*/ 1537959 w 1119"/>
                  <a:gd name="T41" fmla="*/ 698749 h 1141"/>
                  <a:gd name="T42" fmla="*/ 1792211 w 1119"/>
                  <a:gd name="T43" fmla="*/ 858767 h 1141"/>
                  <a:gd name="T44" fmla="*/ 1838439 w 1119"/>
                  <a:gd name="T45" fmla="*/ 926331 h 1141"/>
                  <a:gd name="T46" fmla="*/ 1989568 w 1119"/>
                  <a:gd name="T47" fmla="*/ 1024120 h 1141"/>
                  <a:gd name="T48" fmla="*/ 1938006 w 1119"/>
                  <a:gd name="T49" fmla="*/ 1187695 h 1141"/>
                  <a:gd name="T50" fmla="*/ 1834883 w 1119"/>
                  <a:gd name="T51" fmla="*/ 1290818 h 1141"/>
                  <a:gd name="T52" fmla="*/ 1600188 w 1119"/>
                  <a:gd name="T53" fmla="*/ 1479285 h 1141"/>
                  <a:gd name="T54" fmla="*/ 1662418 w 1119"/>
                  <a:gd name="T55" fmla="*/ 1697977 h 1141"/>
                  <a:gd name="T56" fmla="*/ 1742427 w 1119"/>
                  <a:gd name="T57" fmla="*/ 1776209 h 1141"/>
                  <a:gd name="T58" fmla="*/ 1614412 w 1119"/>
                  <a:gd name="T59" fmla="*/ 1777987 h 1141"/>
                  <a:gd name="T60" fmla="*/ 1584187 w 1119"/>
                  <a:gd name="T61" fmla="*/ 1733537 h 1141"/>
                  <a:gd name="T62" fmla="*/ 1489953 w 1119"/>
                  <a:gd name="T63" fmla="*/ 1772653 h 1141"/>
                  <a:gd name="T64" fmla="*/ 1356604 w 1119"/>
                  <a:gd name="T65" fmla="*/ 1738871 h 1141"/>
                  <a:gd name="T66" fmla="*/ 1329934 w 1119"/>
                  <a:gd name="T67" fmla="*/ 1804656 h 1141"/>
                  <a:gd name="T68" fmla="*/ 1111242 w 1119"/>
                  <a:gd name="T69" fmla="*/ 1879332 h 1141"/>
                  <a:gd name="T70" fmla="*/ 816096 w 1119"/>
                  <a:gd name="T71" fmla="*/ 1886444 h 1141"/>
                  <a:gd name="T72" fmla="*/ 668523 w 1119"/>
                  <a:gd name="T73" fmla="*/ 1923782 h 1141"/>
                  <a:gd name="T74" fmla="*/ 547620 w 1119"/>
                  <a:gd name="T75" fmla="*/ 2014459 h 1141"/>
                  <a:gd name="T76" fmla="*/ 304036 w 1119"/>
                  <a:gd name="T77" fmla="*/ 1888222 h 1141"/>
                  <a:gd name="T78" fmla="*/ 526284 w 1119"/>
                  <a:gd name="T79" fmla="*/ 1822437 h 1141"/>
                  <a:gd name="T80" fmla="*/ 490725 w 1119"/>
                  <a:gd name="T81" fmla="*/ 1609078 h 1141"/>
                  <a:gd name="T82" fmla="*/ 453387 w 1119"/>
                  <a:gd name="T83" fmla="*/ 1395720 h 1141"/>
                  <a:gd name="T84" fmla="*/ 554732 w 1119"/>
                  <a:gd name="T85" fmla="*/ 1203697 h 1141"/>
                  <a:gd name="T86" fmla="*/ 613406 w 1119"/>
                  <a:gd name="T87" fmla="*/ 1013453 h 114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19"/>
                  <a:gd name="T133" fmla="*/ 0 h 1141"/>
                  <a:gd name="T134" fmla="*/ 1119 w 1119"/>
                  <a:gd name="T135" fmla="*/ 1141 h 114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19" h="1141">
                    <a:moveTo>
                      <a:pt x="307" y="539"/>
                    </a:moveTo>
                    <a:lnTo>
                      <a:pt x="265" y="386"/>
                    </a:lnTo>
                    <a:lnTo>
                      <a:pt x="252" y="364"/>
                    </a:lnTo>
                    <a:lnTo>
                      <a:pt x="232" y="382"/>
                    </a:lnTo>
                    <a:lnTo>
                      <a:pt x="215" y="377"/>
                    </a:lnTo>
                    <a:lnTo>
                      <a:pt x="214" y="354"/>
                    </a:lnTo>
                    <a:lnTo>
                      <a:pt x="150" y="278"/>
                    </a:lnTo>
                    <a:lnTo>
                      <a:pt x="83" y="291"/>
                    </a:lnTo>
                    <a:lnTo>
                      <a:pt x="101" y="324"/>
                    </a:lnTo>
                    <a:lnTo>
                      <a:pt x="52" y="359"/>
                    </a:lnTo>
                    <a:lnTo>
                      <a:pt x="34" y="359"/>
                    </a:lnTo>
                    <a:lnTo>
                      <a:pt x="37" y="308"/>
                    </a:lnTo>
                    <a:lnTo>
                      <a:pt x="0" y="179"/>
                    </a:lnTo>
                    <a:lnTo>
                      <a:pt x="87" y="162"/>
                    </a:lnTo>
                    <a:lnTo>
                      <a:pt x="96" y="174"/>
                    </a:lnTo>
                    <a:lnTo>
                      <a:pt x="119" y="170"/>
                    </a:lnTo>
                    <a:lnTo>
                      <a:pt x="117" y="128"/>
                    </a:lnTo>
                    <a:lnTo>
                      <a:pt x="148" y="126"/>
                    </a:lnTo>
                    <a:lnTo>
                      <a:pt x="148" y="72"/>
                    </a:lnTo>
                    <a:lnTo>
                      <a:pt x="170" y="57"/>
                    </a:lnTo>
                    <a:lnTo>
                      <a:pt x="196" y="66"/>
                    </a:lnTo>
                    <a:lnTo>
                      <a:pt x="248" y="6"/>
                    </a:lnTo>
                    <a:lnTo>
                      <a:pt x="346" y="70"/>
                    </a:lnTo>
                    <a:lnTo>
                      <a:pt x="361" y="106"/>
                    </a:lnTo>
                    <a:lnTo>
                      <a:pt x="385" y="121"/>
                    </a:lnTo>
                    <a:lnTo>
                      <a:pt x="412" y="98"/>
                    </a:lnTo>
                    <a:lnTo>
                      <a:pt x="385" y="80"/>
                    </a:lnTo>
                    <a:lnTo>
                      <a:pt x="384" y="70"/>
                    </a:lnTo>
                    <a:lnTo>
                      <a:pt x="465" y="60"/>
                    </a:lnTo>
                    <a:lnTo>
                      <a:pt x="481" y="94"/>
                    </a:lnTo>
                    <a:lnTo>
                      <a:pt x="505" y="89"/>
                    </a:lnTo>
                    <a:lnTo>
                      <a:pt x="505" y="62"/>
                    </a:lnTo>
                    <a:lnTo>
                      <a:pt x="493" y="33"/>
                    </a:lnTo>
                    <a:lnTo>
                      <a:pt x="525" y="0"/>
                    </a:lnTo>
                    <a:lnTo>
                      <a:pt x="553" y="54"/>
                    </a:lnTo>
                    <a:lnTo>
                      <a:pt x="642" y="27"/>
                    </a:lnTo>
                    <a:lnTo>
                      <a:pt x="695" y="61"/>
                    </a:lnTo>
                    <a:lnTo>
                      <a:pt x="715" y="139"/>
                    </a:lnTo>
                    <a:lnTo>
                      <a:pt x="792" y="201"/>
                    </a:lnTo>
                    <a:lnTo>
                      <a:pt x="781" y="250"/>
                    </a:lnTo>
                    <a:lnTo>
                      <a:pt x="766" y="255"/>
                    </a:lnTo>
                    <a:lnTo>
                      <a:pt x="865" y="393"/>
                    </a:lnTo>
                    <a:lnTo>
                      <a:pt x="891" y="390"/>
                    </a:lnTo>
                    <a:lnTo>
                      <a:pt x="1008" y="483"/>
                    </a:lnTo>
                    <a:lnTo>
                      <a:pt x="1010" y="508"/>
                    </a:lnTo>
                    <a:lnTo>
                      <a:pt x="1034" y="521"/>
                    </a:lnTo>
                    <a:lnTo>
                      <a:pt x="1050" y="513"/>
                    </a:lnTo>
                    <a:lnTo>
                      <a:pt x="1119" y="576"/>
                    </a:lnTo>
                    <a:lnTo>
                      <a:pt x="1116" y="640"/>
                    </a:lnTo>
                    <a:lnTo>
                      <a:pt x="1090" y="668"/>
                    </a:lnTo>
                    <a:lnTo>
                      <a:pt x="1045" y="650"/>
                    </a:lnTo>
                    <a:lnTo>
                      <a:pt x="1032" y="726"/>
                    </a:lnTo>
                    <a:lnTo>
                      <a:pt x="903" y="815"/>
                    </a:lnTo>
                    <a:lnTo>
                      <a:pt x="900" y="832"/>
                    </a:lnTo>
                    <a:lnTo>
                      <a:pt x="958" y="900"/>
                    </a:lnTo>
                    <a:lnTo>
                      <a:pt x="935" y="955"/>
                    </a:lnTo>
                    <a:lnTo>
                      <a:pt x="964" y="953"/>
                    </a:lnTo>
                    <a:lnTo>
                      <a:pt x="980" y="999"/>
                    </a:lnTo>
                    <a:lnTo>
                      <a:pt x="960" y="1047"/>
                    </a:lnTo>
                    <a:lnTo>
                      <a:pt x="908" y="1000"/>
                    </a:lnTo>
                    <a:lnTo>
                      <a:pt x="914" y="989"/>
                    </a:lnTo>
                    <a:lnTo>
                      <a:pt x="891" y="975"/>
                    </a:lnTo>
                    <a:lnTo>
                      <a:pt x="857" y="994"/>
                    </a:lnTo>
                    <a:lnTo>
                      <a:pt x="838" y="997"/>
                    </a:lnTo>
                    <a:lnTo>
                      <a:pt x="825" y="980"/>
                    </a:lnTo>
                    <a:lnTo>
                      <a:pt x="763" y="978"/>
                    </a:lnTo>
                    <a:lnTo>
                      <a:pt x="772" y="1011"/>
                    </a:lnTo>
                    <a:lnTo>
                      <a:pt x="748" y="1015"/>
                    </a:lnTo>
                    <a:lnTo>
                      <a:pt x="641" y="1026"/>
                    </a:lnTo>
                    <a:lnTo>
                      <a:pt x="625" y="1057"/>
                    </a:lnTo>
                    <a:lnTo>
                      <a:pt x="494" y="1098"/>
                    </a:lnTo>
                    <a:lnTo>
                      <a:pt x="459" y="1061"/>
                    </a:lnTo>
                    <a:lnTo>
                      <a:pt x="367" y="1043"/>
                    </a:lnTo>
                    <a:lnTo>
                      <a:pt x="376" y="1082"/>
                    </a:lnTo>
                    <a:lnTo>
                      <a:pt x="343" y="1141"/>
                    </a:lnTo>
                    <a:lnTo>
                      <a:pt x="308" y="1133"/>
                    </a:lnTo>
                    <a:lnTo>
                      <a:pt x="233" y="1062"/>
                    </a:lnTo>
                    <a:lnTo>
                      <a:pt x="171" y="1062"/>
                    </a:lnTo>
                    <a:lnTo>
                      <a:pt x="189" y="1040"/>
                    </a:lnTo>
                    <a:lnTo>
                      <a:pt x="296" y="1025"/>
                    </a:lnTo>
                    <a:lnTo>
                      <a:pt x="303" y="1016"/>
                    </a:lnTo>
                    <a:lnTo>
                      <a:pt x="276" y="905"/>
                    </a:lnTo>
                    <a:lnTo>
                      <a:pt x="287" y="870"/>
                    </a:lnTo>
                    <a:lnTo>
                      <a:pt x="255" y="785"/>
                    </a:lnTo>
                    <a:lnTo>
                      <a:pt x="324" y="706"/>
                    </a:lnTo>
                    <a:lnTo>
                      <a:pt x="312" y="677"/>
                    </a:lnTo>
                    <a:lnTo>
                      <a:pt x="364" y="661"/>
                    </a:lnTo>
                    <a:lnTo>
                      <a:pt x="345" y="570"/>
                    </a:lnTo>
                    <a:lnTo>
                      <a:pt x="307" y="539"/>
                    </a:lnTo>
                    <a:close/>
                  </a:path>
                </a:pathLst>
              </a:custGeom>
              <a:solidFill>
                <a:schemeClr val="bg1">
                  <a:lumMod val="95000"/>
                </a:schemeClr>
              </a:solidFill>
              <a:ln w="9525">
                <a:solidFill>
                  <a:schemeClr val="tx1">
                    <a:lumMod val="60000"/>
                    <a:lumOff val="40000"/>
                  </a:schemeClr>
                </a:solidFill>
                <a:round/>
                <a:headEnd/>
                <a:tailEnd/>
              </a:ln>
            </p:spPr>
            <p:txBody>
              <a:bodyPr/>
              <a:lstStyle/>
              <a:p>
                <a:endParaRPr lang="de-DE" sz="1013"/>
              </a:p>
            </p:txBody>
          </p:sp>
          <p:sp>
            <p:nvSpPr>
              <p:cNvPr id="103" name="Freeform 22">
                <a:extLst>
                  <a:ext uri="{FF2B5EF4-FFF2-40B4-BE49-F238E27FC236}">
                    <a16:creationId xmlns:a16="http://schemas.microsoft.com/office/drawing/2014/main" id="{E5B4FFE4-E60E-479F-A613-FA43D9106FC2}"/>
                  </a:ext>
                </a:extLst>
              </p:cNvPr>
              <p:cNvSpPr>
                <a:spLocks/>
              </p:cNvSpPr>
              <p:nvPr/>
            </p:nvSpPr>
            <p:spPr bwMode="gray">
              <a:xfrm>
                <a:off x="4242550" y="3399774"/>
                <a:ext cx="1056125" cy="897883"/>
              </a:xfrm>
              <a:custGeom>
                <a:avLst/>
                <a:gdLst>
                  <a:gd name="T0" fmla="*/ 910330 w 594"/>
                  <a:gd name="T1" fmla="*/ 309370 h 505"/>
                  <a:gd name="T2" fmla="*/ 917442 w 594"/>
                  <a:gd name="T3" fmla="*/ 369821 h 505"/>
                  <a:gd name="T4" fmla="*/ 903218 w 594"/>
                  <a:gd name="T5" fmla="*/ 401825 h 505"/>
                  <a:gd name="T6" fmla="*/ 803651 w 594"/>
                  <a:gd name="T7" fmla="*/ 384045 h 505"/>
                  <a:gd name="T8" fmla="*/ 792983 w 594"/>
                  <a:gd name="T9" fmla="*/ 359153 h 505"/>
                  <a:gd name="T10" fmla="*/ 595626 w 594"/>
                  <a:gd name="T11" fmla="*/ 316482 h 505"/>
                  <a:gd name="T12" fmla="*/ 558288 w 594"/>
                  <a:gd name="T13" fmla="*/ 241806 h 505"/>
                  <a:gd name="T14" fmla="*/ 592070 w 594"/>
                  <a:gd name="T15" fmla="*/ 202690 h 505"/>
                  <a:gd name="T16" fmla="*/ 558288 w 594"/>
                  <a:gd name="T17" fmla="*/ 158241 h 505"/>
                  <a:gd name="T18" fmla="*/ 394713 w 594"/>
                  <a:gd name="T19" fmla="*/ 117347 h 505"/>
                  <a:gd name="T20" fmla="*/ 371599 w 594"/>
                  <a:gd name="T21" fmla="*/ 23114 h 505"/>
                  <a:gd name="T22" fmla="*/ 289812 w 594"/>
                  <a:gd name="T23" fmla="*/ 0 h 505"/>
                  <a:gd name="T24" fmla="*/ 241806 w 594"/>
                  <a:gd name="T25" fmla="*/ 60452 h 505"/>
                  <a:gd name="T26" fmla="*/ 170687 w 594"/>
                  <a:gd name="T27" fmla="*/ 51562 h 505"/>
                  <a:gd name="T28" fmla="*/ 1778 w 594"/>
                  <a:gd name="T29" fmla="*/ 193800 h 505"/>
                  <a:gd name="T30" fmla="*/ 122681 w 594"/>
                  <a:gd name="T31" fmla="*/ 302258 h 505"/>
                  <a:gd name="T32" fmla="*/ 106679 w 594"/>
                  <a:gd name="T33" fmla="*/ 423161 h 505"/>
                  <a:gd name="T34" fmla="*/ 24892 w 594"/>
                  <a:gd name="T35" fmla="*/ 519172 h 505"/>
                  <a:gd name="T36" fmla="*/ 0 w 594"/>
                  <a:gd name="T37" fmla="*/ 615183 h 505"/>
                  <a:gd name="T38" fmla="*/ 80009 w 594"/>
                  <a:gd name="T39" fmla="*/ 640075 h 505"/>
                  <a:gd name="T40" fmla="*/ 97789 w 594"/>
                  <a:gd name="T41" fmla="*/ 695193 h 505"/>
                  <a:gd name="T42" fmla="*/ 272032 w 594"/>
                  <a:gd name="T43" fmla="*/ 807206 h 505"/>
                  <a:gd name="T44" fmla="*/ 298702 w 594"/>
                  <a:gd name="T45" fmla="*/ 871213 h 505"/>
                  <a:gd name="T46" fmla="*/ 341374 w 594"/>
                  <a:gd name="T47" fmla="*/ 897883 h 505"/>
                  <a:gd name="T48" fmla="*/ 389379 w 594"/>
                  <a:gd name="T49" fmla="*/ 856989 h 505"/>
                  <a:gd name="T50" fmla="*/ 341374 w 594"/>
                  <a:gd name="T51" fmla="*/ 824986 h 505"/>
                  <a:gd name="T52" fmla="*/ 339596 w 594"/>
                  <a:gd name="T53" fmla="*/ 807206 h 505"/>
                  <a:gd name="T54" fmla="*/ 483613 w 594"/>
                  <a:gd name="T55" fmla="*/ 789426 h 505"/>
                  <a:gd name="T56" fmla="*/ 512061 w 594"/>
                  <a:gd name="T57" fmla="*/ 849877 h 505"/>
                  <a:gd name="T58" fmla="*/ 554732 w 594"/>
                  <a:gd name="T59" fmla="*/ 840987 h 505"/>
                  <a:gd name="T60" fmla="*/ 554732 w 594"/>
                  <a:gd name="T61" fmla="*/ 792982 h 505"/>
                  <a:gd name="T62" fmla="*/ 533396 w 594"/>
                  <a:gd name="T63" fmla="*/ 741420 h 505"/>
                  <a:gd name="T64" fmla="*/ 590292 w 594"/>
                  <a:gd name="T65" fmla="*/ 682747 h 505"/>
                  <a:gd name="T66" fmla="*/ 640076 w 594"/>
                  <a:gd name="T67" fmla="*/ 778758 h 505"/>
                  <a:gd name="T68" fmla="*/ 798317 w 594"/>
                  <a:gd name="T69" fmla="*/ 730752 h 505"/>
                  <a:gd name="T70" fmla="*/ 814318 w 594"/>
                  <a:gd name="T71" fmla="*/ 650743 h 505"/>
                  <a:gd name="T72" fmla="*/ 832098 w 594"/>
                  <a:gd name="T73" fmla="*/ 636519 h 505"/>
                  <a:gd name="T74" fmla="*/ 888994 w 594"/>
                  <a:gd name="T75" fmla="*/ 636519 h 505"/>
                  <a:gd name="T76" fmla="*/ 938778 w 594"/>
                  <a:gd name="T77" fmla="*/ 560066 h 505"/>
                  <a:gd name="T78" fmla="*/ 910330 w 594"/>
                  <a:gd name="T79" fmla="*/ 487168 h 505"/>
                  <a:gd name="T80" fmla="*/ 1056125 w 594"/>
                  <a:gd name="T81" fmla="*/ 398269 h 505"/>
                  <a:gd name="T82" fmla="*/ 1045457 w 594"/>
                  <a:gd name="T83" fmla="*/ 364487 h 505"/>
                  <a:gd name="T84" fmla="*/ 910330 w 594"/>
                  <a:gd name="T85" fmla="*/ 309370 h 5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4"/>
                  <a:gd name="T130" fmla="*/ 0 h 505"/>
                  <a:gd name="T131" fmla="*/ 594 w 594"/>
                  <a:gd name="T132" fmla="*/ 505 h 5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4" h="505">
                    <a:moveTo>
                      <a:pt x="512" y="174"/>
                    </a:moveTo>
                    <a:lnTo>
                      <a:pt x="516" y="208"/>
                    </a:lnTo>
                    <a:lnTo>
                      <a:pt x="508" y="226"/>
                    </a:lnTo>
                    <a:lnTo>
                      <a:pt x="452" y="216"/>
                    </a:lnTo>
                    <a:lnTo>
                      <a:pt x="446" y="202"/>
                    </a:lnTo>
                    <a:lnTo>
                      <a:pt x="335" y="178"/>
                    </a:lnTo>
                    <a:lnTo>
                      <a:pt x="314" y="136"/>
                    </a:lnTo>
                    <a:lnTo>
                      <a:pt x="333" y="114"/>
                    </a:lnTo>
                    <a:lnTo>
                      <a:pt x="314" y="89"/>
                    </a:lnTo>
                    <a:lnTo>
                      <a:pt x="222" y="66"/>
                    </a:lnTo>
                    <a:lnTo>
                      <a:pt x="209" y="13"/>
                    </a:lnTo>
                    <a:lnTo>
                      <a:pt x="163" y="0"/>
                    </a:lnTo>
                    <a:lnTo>
                      <a:pt x="136" y="34"/>
                    </a:lnTo>
                    <a:lnTo>
                      <a:pt x="96" y="29"/>
                    </a:lnTo>
                    <a:lnTo>
                      <a:pt x="1" y="109"/>
                    </a:lnTo>
                    <a:lnTo>
                      <a:pt x="69" y="170"/>
                    </a:lnTo>
                    <a:lnTo>
                      <a:pt x="60" y="238"/>
                    </a:lnTo>
                    <a:lnTo>
                      <a:pt x="14" y="292"/>
                    </a:lnTo>
                    <a:lnTo>
                      <a:pt x="0" y="346"/>
                    </a:lnTo>
                    <a:lnTo>
                      <a:pt x="45" y="360"/>
                    </a:lnTo>
                    <a:lnTo>
                      <a:pt x="55" y="391"/>
                    </a:lnTo>
                    <a:lnTo>
                      <a:pt x="153" y="454"/>
                    </a:lnTo>
                    <a:lnTo>
                      <a:pt x="168" y="490"/>
                    </a:lnTo>
                    <a:lnTo>
                      <a:pt x="192" y="505"/>
                    </a:lnTo>
                    <a:lnTo>
                      <a:pt x="219" y="482"/>
                    </a:lnTo>
                    <a:lnTo>
                      <a:pt x="192" y="464"/>
                    </a:lnTo>
                    <a:lnTo>
                      <a:pt x="191" y="454"/>
                    </a:lnTo>
                    <a:lnTo>
                      <a:pt x="272" y="444"/>
                    </a:lnTo>
                    <a:lnTo>
                      <a:pt x="288" y="478"/>
                    </a:lnTo>
                    <a:lnTo>
                      <a:pt x="312" y="473"/>
                    </a:lnTo>
                    <a:lnTo>
                      <a:pt x="312" y="446"/>
                    </a:lnTo>
                    <a:lnTo>
                      <a:pt x="300" y="417"/>
                    </a:lnTo>
                    <a:lnTo>
                      <a:pt x="332" y="384"/>
                    </a:lnTo>
                    <a:lnTo>
                      <a:pt x="360" y="438"/>
                    </a:lnTo>
                    <a:lnTo>
                      <a:pt x="449" y="411"/>
                    </a:lnTo>
                    <a:lnTo>
                      <a:pt x="458" y="366"/>
                    </a:lnTo>
                    <a:lnTo>
                      <a:pt x="468" y="358"/>
                    </a:lnTo>
                    <a:lnTo>
                      <a:pt x="500" y="358"/>
                    </a:lnTo>
                    <a:lnTo>
                      <a:pt x="528" y="315"/>
                    </a:lnTo>
                    <a:lnTo>
                      <a:pt x="512" y="274"/>
                    </a:lnTo>
                    <a:lnTo>
                      <a:pt x="594" y="224"/>
                    </a:lnTo>
                    <a:lnTo>
                      <a:pt x="588" y="205"/>
                    </a:lnTo>
                    <a:lnTo>
                      <a:pt x="512" y="174"/>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104" name="Freeform 23">
                <a:extLst>
                  <a:ext uri="{FF2B5EF4-FFF2-40B4-BE49-F238E27FC236}">
                    <a16:creationId xmlns:a16="http://schemas.microsoft.com/office/drawing/2014/main" id="{71710545-C851-4B26-B248-7A69A8A84D35}"/>
                  </a:ext>
                </a:extLst>
              </p:cNvPr>
              <p:cNvSpPr>
                <a:spLocks/>
              </p:cNvSpPr>
              <p:nvPr/>
            </p:nvSpPr>
            <p:spPr bwMode="gray">
              <a:xfrm>
                <a:off x="3666482" y="2244082"/>
                <a:ext cx="53340" cy="76453"/>
              </a:xfrm>
              <a:custGeom>
                <a:avLst/>
                <a:gdLst>
                  <a:gd name="T0" fmla="*/ 44450 w 30"/>
                  <a:gd name="T1" fmla="*/ 76453 h 43"/>
                  <a:gd name="T2" fmla="*/ 53340 w 30"/>
                  <a:gd name="T3" fmla="*/ 51561 h 43"/>
                  <a:gd name="T4" fmla="*/ 40894 w 30"/>
                  <a:gd name="T5" fmla="*/ 0 h 43"/>
                  <a:gd name="T6" fmla="*/ 0 w 30"/>
                  <a:gd name="T7" fmla="*/ 1778 h 43"/>
                  <a:gd name="T8" fmla="*/ 5334 w 30"/>
                  <a:gd name="T9" fmla="*/ 42671 h 43"/>
                  <a:gd name="T10" fmla="*/ 17780 w 30"/>
                  <a:gd name="T11" fmla="*/ 71119 h 43"/>
                  <a:gd name="T12" fmla="*/ 44450 w 30"/>
                  <a:gd name="T13" fmla="*/ 76453 h 43"/>
                  <a:gd name="T14" fmla="*/ 0 60000 65536"/>
                  <a:gd name="T15" fmla="*/ 0 60000 65536"/>
                  <a:gd name="T16" fmla="*/ 0 60000 65536"/>
                  <a:gd name="T17" fmla="*/ 0 60000 65536"/>
                  <a:gd name="T18" fmla="*/ 0 60000 65536"/>
                  <a:gd name="T19" fmla="*/ 0 60000 65536"/>
                  <a:gd name="T20" fmla="*/ 0 60000 65536"/>
                  <a:gd name="T21" fmla="*/ 0 w 30"/>
                  <a:gd name="T22" fmla="*/ 0 h 43"/>
                  <a:gd name="T23" fmla="*/ 30 w 30"/>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43">
                    <a:moveTo>
                      <a:pt x="25" y="43"/>
                    </a:moveTo>
                    <a:lnTo>
                      <a:pt x="30" y="29"/>
                    </a:lnTo>
                    <a:lnTo>
                      <a:pt x="23" y="0"/>
                    </a:lnTo>
                    <a:lnTo>
                      <a:pt x="0" y="1"/>
                    </a:lnTo>
                    <a:lnTo>
                      <a:pt x="3" y="24"/>
                    </a:lnTo>
                    <a:lnTo>
                      <a:pt x="10" y="40"/>
                    </a:lnTo>
                    <a:lnTo>
                      <a:pt x="25" y="43"/>
                    </a:lnTo>
                    <a:close/>
                  </a:path>
                </a:pathLst>
              </a:custGeom>
              <a:solidFill>
                <a:srgbClr val="DCDCDC"/>
              </a:solidFill>
              <a:ln w="9525">
                <a:solidFill>
                  <a:schemeClr val="bg1"/>
                </a:solidFill>
                <a:round/>
                <a:headEnd/>
                <a:tailEnd/>
              </a:ln>
            </p:spPr>
            <p:txBody>
              <a:bodyPr/>
              <a:lstStyle/>
              <a:p>
                <a:endParaRPr lang="de-DE" sz="1013"/>
              </a:p>
            </p:txBody>
          </p:sp>
          <p:sp>
            <p:nvSpPr>
              <p:cNvPr id="105" name="Freeform 24">
                <a:extLst>
                  <a:ext uri="{FF2B5EF4-FFF2-40B4-BE49-F238E27FC236}">
                    <a16:creationId xmlns:a16="http://schemas.microsoft.com/office/drawing/2014/main" id="{70F0698C-36D9-4FD4-AD4B-BBDAF719F863}"/>
                  </a:ext>
                </a:extLst>
              </p:cNvPr>
              <p:cNvSpPr>
                <a:spLocks/>
              </p:cNvSpPr>
              <p:nvPr/>
            </p:nvSpPr>
            <p:spPr bwMode="gray">
              <a:xfrm>
                <a:off x="3662926" y="2457441"/>
                <a:ext cx="184911" cy="124459"/>
              </a:xfrm>
              <a:custGeom>
                <a:avLst/>
                <a:gdLst>
                  <a:gd name="T0" fmla="*/ 45309 w 151"/>
                  <a:gd name="T1" fmla="*/ 32945 h 102"/>
                  <a:gd name="T2" fmla="*/ 80822 w 151"/>
                  <a:gd name="T3" fmla="*/ 107376 h 102"/>
                  <a:gd name="T4" fmla="*/ 97966 w 151"/>
                  <a:gd name="T5" fmla="*/ 119578 h 102"/>
                  <a:gd name="T6" fmla="*/ 155521 w 151"/>
                  <a:gd name="T7" fmla="*/ 124459 h 102"/>
                  <a:gd name="T8" fmla="*/ 184911 w 151"/>
                  <a:gd name="T9" fmla="*/ 74431 h 102"/>
                  <a:gd name="T10" fmla="*/ 175114 w 151"/>
                  <a:gd name="T11" fmla="*/ 34165 h 102"/>
                  <a:gd name="T12" fmla="*/ 82047 w 151"/>
                  <a:gd name="T13" fmla="*/ 13422 h 102"/>
                  <a:gd name="T14" fmla="*/ 0 w 151"/>
                  <a:gd name="T15" fmla="*/ 0 h 102"/>
                  <a:gd name="T16" fmla="*/ 3674 w 151"/>
                  <a:gd name="T17" fmla="*/ 15862 h 102"/>
                  <a:gd name="T18" fmla="*/ 45309 w 151"/>
                  <a:gd name="T19" fmla="*/ 32945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1"/>
                  <a:gd name="T31" fmla="*/ 0 h 102"/>
                  <a:gd name="T32" fmla="*/ 151 w 151"/>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1" h="102">
                    <a:moveTo>
                      <a:pt x="37" y="27"/>
                    </a:moveTo>
                    <a:lnTo>
                      <a:pt x="66" y="88"/>
                    </a:lnTo>
                    <a:lnTo>
                      <a:pt x="80" y="98"/>
                    </a:lnTo>
                    <a:lnTo>
                      <a:pt x="127" y="102"/>
                    </a:lnTo>
                    <a:lnTo>
                      <a:pt x="151" y="61"/>
                    </a:lnTo>
                    <a:lnTo>
                      <a:pt x="143" y="28"/>
                    </a:lnTo>
                    <a:lnTo>
                      <a:pt x="67" y="11"/>
                    </a:lnTo>
                    <a:lnTo>
                      <a:pt x="0" y="0"/>
                    </a:lnTo>
                    <a:lnTo>
                      <a:pt x="3" y="13"/>
                    </a:lnTo>
                    <a:lnTo>
                      <a:pt x="37" y="27"/>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106" name="Freeform 25">
                <a:extLst>
                  <a:ext uri="{FF2B5EF4-FFF2-40B4-BE49-F238E27FC236}">
                    <a16:creationId xmlns:a16="http://schemas.microsoft.com/office/drawing/2014/main" id="{B01F43D3-6FD6-4EAD-BD79-61104D1394E4}"/>
                  </a:ext>
                </a:extLst>
              </p:cNvPr>
              <p:cNvSpPr>
                <a:spLocks/>
              </p:cNvSpPr>
              <p:nvPr/>
            </p:nvSpPr>
            <p:spPr bwMode="gray">
              <a:xfrm>
                <a:off x="4110979" y="2103621"/>
                <a:ext cx="250696" cy="227582"/>
              </a:xfrm>
              <a:custGeom>
                <a:avLst/>
                <a:gdLst>
                  <a:gd name="T0" fmla="*/ 165353 w 141"/>
                  <a:gd name="T1" fmla="*/ 136905 h 128"/>
                  <a:gd name="T2" fmla="*/ 147573 w 141"/>
                  <a:gd name="T3" fmla="*/ 129793 h 128"/>
                  <a:gd name="T4" fmla="*/ 168909 w 141"/>
                  <a:gd name="T5" fmla="*/ 71119 h 128"/>
                  <a:gd name="T6" fmla="*/ 158241 w 141"/>
                  <a:gd name="T7" fmla="*/ 48006 h 128"/>
                  <a:gd name="T8" fmla="*/ 161797 w 141"/>
                  <a:gd name="T9" fmla="*/ 1778 h 128"/>
                  <a:gd name="T10" fmla="*/ 144017 w 141"/>
                  <a:gd name="T11" fmla="*/ 0 h 128"/>
                  <a:gd name="T12" fmla="*/ 96011 w 141"/>
                  <a:gd name="T13" fmla="*/ 53340 h 128"/>
                  <a:gd name="T14" fmla="*/ 8890 w 141"/>
                  <a:gd name="T15" fmla="*/ 92455 h 128"/>
                  <a:gd name="T16" fmla="*/ 0 w 141"/>
                  <a:gd name="T17" fmla="*/ 135127 h 128"/>
                  <a:gd name="T18" fmla="*/ 10668 w 141"/>
                  <a:gd name="T19" fmla="*/ 161797 h 128"/>
                  <a:gd name="T20" fmla="*/ 56896 w 141"/>
                  <a:gd name="T21" fmla="*/ 211580 h 128"/>
                  <a:gd name="T22" fmla="*/ 112013 w 141"/>
                  <a:gd name="T23" fmla="*/ 213358 h 128"/>
                  <a:gd name="T24" fmla="*/ 122681 w 141"/>
                  <a:gd name="T25" fmla="*/ 202690 h 128"/>
                  <a:gd name="T26" fmla="*/ 145795 w 141"/>
                  <a:gd name="T27" fmla="*/ 200912 h 128"/>
                  <a:gd name="T28" fmla="*/ 170687 w 141"/>
                  <a:gd name="T29" fmla="*/ 227582 h 128"/>
                  <a:gd name="T30" fmla="*/ 183133 w 141"/>
                  <a:gd name="T31" fmla="*/ 227582 h 128"/>
                  <a:gd name="T32" fmla="*/ 209802 w 141"/>
                  <a:gd name="T33" fmla="*/ 209802 h 128"/>
                  <a:gd name="T34" fmla="*/ 229360 w 141"/>
                  <a:gd name="T35" fmla="*/ 208024 h 128"/>
                  <a:gd name="T36" fmla="*/ 250696 w 141"/>
                  <a:gd name="T37" fmla="*/ 224026 h 128"/>
                  <a:gd name="T38" fmla="*/ 243584 w 141"/>
                  <a:gd name="T39" fmla="*/ 206246 h 128"/>
                  <a:gd name="T40" fmla="*/ 165353 w 141"/>
                  <a:gd name="T41" fmla="*/ 136905 h 1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1"/>
                  <a:gd name="T64" fmla="*/ 0 h 128"/>
                  <a:gd name="T65" fmla="*/ 141 w 141"/>
                  <a:gd name="T66" fmla="*/ 128 h 1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1" h="128">
                    <a:moveTo>
                      <a:pt x="93" y="77"/>
                    </a:moveTo>
                    <a:lnTo>
                      <a:pt x="83" y="73"/>
                    </a:lnTo>
                    <a:lnTo>
                      <a:pt x="95" y="40"/>
                    </a:lnTo>
                    <a:lnTo>
                      <a:pt x="89" y="27"/>
                    </a:lnTo>
                    <a:lnTo>
                      <a:pt x="91" y="1"/>
                    </a:lnTo>
                    <a:lnTo>
                      <a:pt x="81" y="0"/>
                    </a:lnTo>
                    <a:lnTo>
                      <a:pt x="54" y="30"/>
                    </a:lnTo>
                    <a:lnTo>
                      <a:pt x="5" y="52"/>
                    </a:lnTo>
                    <a:lnTo>
                      <a:pt x="0" y="76"/>
                    </a:lnTo>
                    <a:lnTo>
                      <a:pt x="6" y="91"/>
                    </a:lnTo>
                    <a:lnTo>
                      <a:pt x="32" y="119"/>
                    </a:lnTo>
                    <a:lnTo>
                      <a:pt x="63" y="120"/>
                    </a:lnTo>
                    <a:lnTo>
                      <a:pt x="69" y="114"/>
                    </a:lnTo>
                    <a:lnTo>
                      <a:pt x="82" y="113"/>
                    </a:lnTo>
                    <a:lnTo>
                      <a:pt x="96" y="128"/>
                    </a:lnTo>
                    <a:lnTo>
                      <a:pt x="103" y="128"/>
                    </a:lnTo>
                    <a:lnTo>
                      <a:pt x="118" y="118"/>
                    </a:lnTo>
                    <a:lnTo>
                      <a:pt x="129" y="117"/>
                    </a:lnTo>
                    <a:lnTo>
                      <a:pt x="141" y="126"/>
                    </a:lnTo>
                    <a:lnTo>
                      <a:pt x="137" y="116"/>
                    </a:lnTo>
                    <a:lnTo>
                      <a:pt x="93" y="77"/>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sp>
            <p:nvSpPr>
              <p:cNvPr id="107" name="Freeform 26">
                <a:extLst>
                  <a:ext uri="{FF2B5EF4-FFF2-40B4-BE49-F238E27FC236}">
                    <a16:creationId xmlns:a16="http://schemas.microsoft.com/office/drawing/2014/main" id="{F30FD014-236B-402C-9042-C65CBF103199}"/>
                  </a:ext>
                </a:extLst>
              </p:cNvPr>
              <p:cNvSpPr>
                <a:spLocks/>
              </p:cNvSpPr>
              <p:nvPr/>
            </p:nvSpPr>
            <p:spPr bwMode="gray">
              <a:xfrm>
                <a:off x="5392908" y="2695691"/>
                <a:ext cx="247140" cy="202691"/>
              </a:xfrm>
              <a:custGeom>
                <a:avLst/>
                <a:gdLst>
                  <a:gd name="T0" fmla="*/ 206565 w 201"/>
                  <a:gd name="T1" fmla="*/ 108102 h 165"/>
                  <a:gd name="T2" fmla="*/ 211483 w 201"/>
                  <a:gd name="T3" fmla="*/ 83533 h 165"/>
                  <a:gd name="T4" fmla="*/ 168449 w 201"/>
                  <a:gd name="T5" fmla="*/ 18426 h 165"/>
                  <a:gd name="T6" fmla="*/ 152464 w 201"/>
                  <a:gd name="T7" fmla="*/ 0 h 165"/>
                  <a:gd name="T8" fmla="*/ 131562 w 201"/>
                  <a:gd name="T9" fmla="*/ 3685 h 165"/>
                  <a:gd name="T10" fmla="*/ 108201 w 201"/>
                  <a:gd name="T11" fmla="*/ 34396 h 165"/>
                  <a:gd name="T12" fmla="*/ 67625 w 201"/>
                  <a:gd name="T13" fmla="*/ 13513 h 165"/>
                  <a:gd name="T14" fmla="*/ 13525 w 201"/>
                  <a:gd name="T15" fmla="*/ 62650 h 165"/>
                  <a:gd name="T16" fmla="*/ 18443 w 201"/>
                  <a:gd name="T17" fmla="*/ 149868 h 165"/>
                  <a:gd name="T18" fmla="*/ 0 w 201"/>
                  <a:gd name="T19" fmla="*/ 184265 h 165"/>
                  <a:gd name="T20" fmla="*/ 12296 w 201"/>
                  <a:gd name="T21" fmla="*/ 194092 h 165"/>
                  <a:gd name="T22" fmla="*/ 87298 w 201"/>
                  <a:gd name="T23" fmla="*/ 164610 h 165"/>
                  <a:gd name="T24" fmla="*/ 186892 w 201"/>
                  <a:gd name="T25" fmla="*/ 168295 h 165"/>
                  <a:gd name="T26" fmla="*/ 217631 w 201"/>
                  <a:gd name="T27" fmla="*/ 202691 h 165"/>
                  <a:gd name="T28" fmla="*/ 247140 w 201"/>
                  <a:gd name="T29" fmla="*/ 154782 h 165"/>
                  <a:gd name="T30" fmla="*/ 244681 w 201"/>
                  <a:gd name="T31" fmla="*/ 124071 h 165"/>
                  <a:gd name="T32" fmla="*/ 206565 w 201"/>
                  <a:gd name="T33" fmla="*/ 108102 h 1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1"/>
                  <a:gd name="T52" fmla="*/ 0 h 165"/>
                  <a:gd name="T53" fmla="*/ 201 w 201"/>
                  <a:gd name="T54" fmla="*/ 165 h 1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1" h="165">
                    <a:moveTo>
                      <a:pt x="168" y="88"/>
                    </a:moveTo>
                    <a:lnTo>
                      <a:pt x="172" y="68"/>
                    </a:lnTo>
                    <a:lnTo>
                      <a:pt x="137" y="15"/>
                    </a:lnTo>
                    <a:lnTo>
                      <a:pt x="124" y="0"/>
                    </a:lnTo>
                    <a:lnTo>
                      <a:pt x="107" y="3"/>
                    </a:lnTo>
                    <a:lnTo>
                      <a:pt x="88" y="28"/>
                    </a:lnTo>
                    <a:lnTo>
                      <a:pt x="55" y="11"/>
                    </a:lnTo>
                    <a:lnTo>
                      <a:pt x="11" y="51"/>
                    </a:lnTo>
                    <a:lnTo>
                      <a:pt x="15" y="122"/>
                    </a:lnTo>
                    <a:lnTo>
                      <a:pt x="0" y="150"/>
                    </a:lnTo>
                    <a:lnTo>
                      <a:pt x="10" y="158"/>
                    </a:lnTo>
                    <a:lnTo>
                      <a:pt x="71" y="134"/>
                    </a:lnTo>
                    <a:lnTo>
                      <a:pt x="152" y="137"/>
                    </a:lnTo>
                    <a:lnTo>
                      <a:pt x="177" y="165"/>
                    </a:lnTo>
                    <a:lnTo>
                      <a:pt x="201" y="126"/>
                    </a:lnTo>
                    <a:lnTo>
                      <a:pt x="199" y="101"/>
                    </a:lnTo>
                    <a:lnTo>
                      <a:pt x="168" y="88"/>
                    </a:lnTo>
                    <a:close/>
                  </a:path>
                </a:pathLst>
              </a:custGeom>
              <a:solidFill>
                <a:schemeClr val="bg1">
                  <a:lumMod val="95000"/>
                </a:schemeClr>
              </a:solidFill>
              <a:ln w="9525">
                <a:solidFill>
                  <a:schemeClr val="bg1">
                    <a:lumMod val="65000"/>
                  </a:schemeClr>
                </a:solidFill>
                <a:round/>
                <a:headEnd/>
                <a:tailEnd/>
              </a:ln>
            </p:spPr>
            <p:txBody>
              <a:bodyPr/>
              <a:lstStyle/>
              <a:p>
                <a:endParaRPr lang="de-DE" sz="1013"/>
              </a:p>
            </p:txBody>
          </p:sp>
        </p:grpSp>
        <p:pic>
          <p:nvPicPr>
            <p:cNvPr id="84" name="Hydroelectric plant">
              <a:extLst>
                <a:ext uri="{FF2B5EF4-FFF2-40B4-BE49-F238E27FC236}">
                  <a16:creationId xmlns:a16="http://schemas.microsoft.com/office/drawing/2014/main" id="{2459FE67-8046-4B5C-AF33-B20ECA5D022D}"/>
                </a:ext>
              </a:extLst>
            </p:cNvPr>
            <p:cNvPicPr>
              <a:picLocks noChangeAspect="1" noChangeArrowheads="1"/>
            </p:cNvPicPr>
            <p:nvPr>
              <p:custDataLst>
                <p:tags r:id="rId2"/>
              </p:custDataLst>
            </p:nvPr>
          </p:nvPicPr>
          <p:blipFill rotWithShape="1">
            <a:blip r:embed="rId9" cstate="print">
              <a:extLst>
                <a:ext uri="{28A0092B-C50C-407E-A947-70E740481C1C}">
                  <a14:useLocalDpi xmlns:a14="http://schemas.microsoft.com/office/drawing/2010/main" val="0"/>
                </a:ext>
              </a:extLst>
            </a:blip>
            <a:srcRect b="14137"/>
            <a:stretch/>
          </p:blipFill>
          <p:spPr bwMode="auto">
            <a:xfrm>
              <a:off x="2565764" y="2693617"/>
              <a:ext cx="214730" cy="18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Textfeld 49">
              <a:extLst>
                <a:ext uri="{FF2B5EF4-FFF2-40B4-BE49-F238E27FC236}">
                  <a16:creationId xmlns:a16="http://schemas.microsoft.com/office/drawing/2014/main" id="{4386E925-A613-43E1-B6EA-4F2C04B0D716}"/>
                </a:ext>
              </a:extLst>
            </p:cNvPr>
            <p:cNvSpPr txBox="1"/>
            <p:nvPr/>
          </p:nvSpPr>
          <p:spPr>
            <a:xfrm>
              <a:off x="2182073" y="2858047"/>
              <a:ext cx="897994" cy="275382"/>
            </a:xfrm>
            <a:prstGeom prst="rect">
              <a:avLst/>
            </a:prstGeom>
            <a:noFill/>
          </p:spPr>
          <p:txBody>
            <a:bodyPr wrap="square" rtlCol="0">
              <a:spAutoFit/>
            </a:bodyPr>
            <a:lstStyle/>
            <a:p>
              <a:pPr algn="ctr"/>
              <a:r>
                <a:rPr lang="de-DE" sz="788">
                  <a:solidFill>
                    <a:srgbClr val="0078DC"/>
                  </a:solidFill>
                </a:rPr>
                <a:t>Happurg</a:t>
              </a:r>
              <a:endParaRPr lang="de-DE" sz="563">
                <a:solidFill>
                  <a:srgbClr val="0078DC"/>
                </a:solidFill>
              </a:endParaRPr>
            </a:p>
          </p:txBody>
        </p:sp>
      </p:grpSp>
      <p:pic>
        <p:nvPicPr>
          <p:cNvPr id="108" name="Picture 35">
            <a:extLst>
              <a:ext uri="{FF2B5EF4-FFF2-40B4-BE49-F238E27FC236}">
                <a16:creationId xmlns:a16="http://schemas.microsoft.com/office/drawing/2014/main" id="{B2A1E4CF-7A1D-41D5-9CCF-031CD1AB23F8}"/>
              </a:ext>
            </a:extLst>
          </p:cNvPr>
          <p:cNvPicPr>
            <a:picLocks noChangeAspect="1"/>
          </p:cNvPicPr>
          <p:nvPr/>
        </p:nvPicPr>
        <p:blipFill rotWithShape="1">
          <a:blip r:embed="rId10"/>
          <a:srcRect l="19411" r="4091"/>
          <a:stretch/>
        </p:blipFill>
        <p:spPr>
          <a:xfrm>
            <a:off x="447016" y="2891031"/>
            <a:ext cx="2735588" cy="2130182"/>
          </a:xfrm>
          <a:prstGeom prst="rect">
            <a:avLst/>
          </a:prstGeom>
        </p:spPr>
      </p:pic>
      <p:grpSp>
        <p:nvGrpSpPr>
          <p:cNvPr id="111" name="Gruppieren 110">
            <a:extLst>
              <a:ext uri="{FF2B5EF4-FFF2-40B4-BE49-F238E27FC236}">
                <a16:creationId xmlns:a16="http://schemas.microsoft.com/office/drawing/2014/main" id="{ED6AA23C-62A4-499D-AE91-1559122944B5}"/>
              </a:ext>
            </a:extLst>
          </p:cNvPr>
          <p:cNvGrpSpPr/>
          <p:nvPr/>
        </p:nvGrpSpPr>
        <p:grpSpPr>
          <a:xfrm>
            <a:off x="3546532" y="3750294"/>
            <a:ext cx="5447695" cy="1178379"/>
            <a:chOff x="4728709" y="5009573"/>
            <a:chExt cx="7263593" cy="1571172"/>
          </a:xfrm>
        </p:grpSpPr>
        <p:sp>
          <p:nvSpPr>
            <p:cNvPr id="13" name="Textfeld 15">
              <a:extLst>
                <a:ext uri="{FF2B5EF4-FFF2-40B4-BE49-F238E27FC236}">
                  <a16:creationId xmlns:a16="http://schemas.microsoft.com/office/drawing/2014/main" id="{DA5D937D-C582-4BB6-BA87-C77FBD5C3610}"/>
                </a:ext>
              </a:extLst>
            </p:cNvPr>
            <p:cNvSpPr txBox="1"/>
            <p:nvPr/>
          </p:nvSpPr>
          <p:spPr>
            <a:xfrm>
              <a:off x="4728710" y="5407028"/>
              <a:ext cx="4673530" cy="1087477"/>
            </a:xfrm>
            <a:prstGeom prst="rect">
              <a:avLst/>
            </a:prstGeom>
            <a:noFill/>
          </p:spPr>
          <p:txBody>
            <a:bodyPr wrap="square" lIns="91440" tIns="45720" rIns="91440" bIns="45720" anchor="t">
              <a:spAutoFit/>
            </a:bodyPr>
            <a:lstStyle>
              <a:lvl1pPr>
                <a:buClr>
                  <a:srgbClr val="0078DC"/>
                </a:buClr>
                <a:buFont typeface="Wingdings" pitchFamily="2" charset="2"/>
                <a:buChar char=""/>
              </a:lvl1pPr>
              <a:lvl2pPr>
                <a:buClr>
                  <a:srgbClr val="0078DC"/>
                </a:buClr>
                <a:buFont typeface="Wingdings" pitchFamily="2" charset="2"/>
                <a:buChar char=""/>
              </a:lvl2pPr>
              <a:lvl3pPr>
                <a:buClr>
                  <a:srgbClr val="0078DC"/>
                </a:buClr>
                <a:buFont typeface="Wingdings" pitchFamily="2" charset="2"/>
                <a:buChar char=""/>
              </a:lvl3pPr>
              <a:lvl4pPr>
                <a:buClr>
                  <a:srgbClr val="0078DC"/>
                </a:buClr>
                <a:buFont typeface="Wingdings" pitchFamily="2" charset="2"/>
                <a:buChar char=""/>
              </a:lvl4pPr>
              <a:lvl5pPr>
                <a:buClr>
                  <a:srgbClr val="0078DC"/>
                </a:buClr>
                <a:buFont typeface="Wingdings" pitchFamily="2" charset="2"/>
                <a:buChar char=""/>
              </a:lvl5pPr>
              <a:lvl6pPr>
                <a:buClr>
                  <a:srgbClr val="0078DC"/>
                </a:buClr>
                <a:buFont typeface="Wingdings" pitchFamily="2" charset="2"/>
                <a:buChar char=""/>
              </a:lvl6pPr>
              <a:lvl7pPr>
                <a:buClr>
                  <a:srgbClr val="0078DC"/>
                </a:buClr>
                <a:buFont typeface="Wingdings" pitchFamily="2" charset="2"/>
                <a:buChar char=""/>
              </a:lvl7pPr>
              <a:lvl8pPr>
                <a:buClr>
                  <a:srgbClr val="0078DC"/>
                </a:buClr>
                <a:buFont typeface="Wingdings" pitchFamily="2" charset="2"/>
                <a:buChar char=""/>
              </a:lvl8pPr>
            </a:lstStyle>
            <a:p>
              <a:pPr marL="128270" indent="-128270">
                <a:spcAft>
                  <a:spcPts val="150"/>
                </a:spcAft>
                <a:tabLst>
                  <a:tab pos="1162646" algn="l"/>
                  <a:tab pos="2625329" algn="l"/>
                  <a:tab pos="3836194" algn="l"/>
                </a:tabLst>
              </a:pPr>
              <a:r>
                <a:rPr lang="de-DE" altLang="de-DE" sz="1050">
                  <a:sym typeface="Wingdings" panose="05000000000000000000" pitchFamily="2" charset="2"/>
                </a:rPr>
                <a:t>4 horizontale Maschinensätze </a:t>
              </a:r>
              <a:r>
                <a:rPr lang="de-DE" altLang="de-DE" sz="1050"/>
                <a:t>für </a:t>
              </a:r>
              <a:endParaRPr lang="de-DE"/>
            </a:p>
            <a:p>
              <a:pPr>
                <a:spcAft>
                  <a:spcPts val="150"/>
                </a:spcAft>
                <a:buNone/>
                <a:tabLst>
                  <a:tab pos="1162646" algn="l"/>
                  <a:tab pos="2625329" algn="l"/>
                  <a:tab pos="3836194" algn="l"/>
                </a:tabLst>
              </a:pPr>
              <a:r>
                <a:rPr lang="de-DE" altLang="de-DE" sz="1050">
                  <a:latin typeface="Arial"/>
                  <a:cs typeface="Arial"/>
                </a:rPr>
                <a:t> Turbinen- und Pumpbetrieb</a:t>
              </a:r>
            </a:p>
            <a:p>
              <a:pPr marL="128270" indent="-128270">
                <a:spcAft>
                  <a:spcPts val="150"/>
                </a:spcAft>
                <a:tabLst>
                  <a:tab pos="1162646" algn="l"/>
                  <a:tab pos="2625329" algn="l"/>
                  <a:tab pos="3836194" algn="l"/>
                </a:tabLst>
              </a:pPr>
              <a:r>
                <a:rPr lang="de-DE" altLang="de-DE" sz="1050"/>
                <a:t>Fallhöhe 	</a:t>
              </a:r>
              <a:r>
                <a:rPr lang="de-DE" altLang="de-DE" sz="1050" b="1"/>
                <a:t>209</a:t>
              </a:r>
              <a:r>
                <a:rPr lang="de-DE" altLang="de-DE" sz="1050"/>
                <a:t> m</a:t>
              </a:r>
              <a:endParaRPr lang="de-DE" altLang="de-DE" sz="1050">
                <a:cs typeface="Arial" panose="020B0604020202020204" pitchFamily="34" charset="0"/>
              </a:endParaRPr>
            </a:p>
            <a:p>
              <a:pPr marL="128270" indent="-128270">
                <a:spcAft>
                  <a:spcPts val="150"/>
                </a:spcAft>
                <a:tabLst>
                  <a:tab pos="1162646" algn="l"/>
                  <a:tab pos="2625329" algn="l"/>
                  <a:tab pos="3836194" algn="l"/>
                </a:tabLst>
              </a:pPr>
              <a:r>
                <a:rPr lang="de-DE" sz="1050">
                  <a:latin typeface="Arial"/>
                  <a:cs typeface="Arial"/>
                </a:rPr>
                <a:t>Gesamtleistung </a:t>
              </a:r>
              <a:r>
                <a:rPr lang="de-DE" sz="1050" b="1">
                  <a:latin typeface="Arial"/>
                  <a:cs typeface="Arial"/>
                </a:rPr>
                <a:t>160</a:t>
              </a:r>
              <a:r>
                <a:rPr lang="de-DE" sz="1050">
                  <a:latin typeface="Arial"/>
                  <a:cs typeface="Arial"/>
                </a:rPr>
                <a:t> MW </a:t>
              </a:r>
              <a:r>
                <a:rPr lang="de-DE" altLang="de-DE" sz="1050">
                  <a:latin typeface="Arial"/>
                  <a:cs typeface="Arial"/>
                </a:rPr>
                <a:t>	</a:t>
              </a:r>
            </a:p>
          </p:txBody>
        </p:sp>
        <p:sp>
          <p:nvSpPr>
            <p:cNvPr id="14" name="Rectangle 13">
              <a:extLst>
                <a:ext uri="{FF2B5EF4-FFF2-40B4-BE49-F238E27FC236}">
                  <a16:creationId xmlns:a16="http://schemas.microsoft.com/office/drawing/2014/main" id="{FEE47E53-E9A8-45AA-A89B-960580FA3B3E}"/>
                </a:ext>
              </a:extLst>
            </p:cNvPr>
            <p:cNvSpPr/>
            <p:nvPr/>
          </p:nvSpPr>
          <p:spPr>
            <a:xfrm>
              <a:off x="4728709" y="5182137"/>
              <a:ext cx="7263593" cy="1398608"/>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pSp>
          <p:nvGrpSpPr>
            <p:cNvPr id="16" name="Group 15">
              <a:extLst>
                <a:ext uri="{FF2B5EF4-FFF2-40B4-BE49-F238E27FC236}">
                  <a16:creationId xmlns:a16="http://schemas.microsoft.com/office/drawing/2014/main" id="{A5C87DDC-AB45-47A3-A7FE-322DDFB6C872}"/>
                </a:ext>
              </a:extLst>
            </p:cNvPr>
            <p:cNvGrpSpPr/>
            <p:nvPr/>
          </p:nvGrpSpPr>
          <p:grpSpPr>
            <a:xfrm>
              <a:off x="8237642" y="5348852"/>
              <a:ext cx="2889291" cy="1075655"/>
              <a:chOff x="6566794" y="3691317"/>
              <a:chExt cx="3388632" cy="1203233"/>
            </a:xfrm>
          </p:grpSpPr>
          <p:sp>
            <p:nvSpPr>
              <p:cNvPr id="17" name="AutoShape 21">
                <a:extLst>
                  <a:ext uri="{FF2B5EF4-FFF2-40B4-BE49-F238E27FC236}">
                    <a16:creationId xmlns:a16="http://schemas.microsoft.com/office/drawing/2014/main" id="{F372241F-DC3A-4B6E-A03D-75AAF7367688}"/>
                  </a:ext>
                </a:extLst>
              </p:cNvPr>
              <p:cNvSpPr>
                <a:spLocks noChangeArrowheads="1"/>
              </p:cNvSpPr>
              <p:nvPr/>
            </p:nvSpPr>
            <p:spPr bwMode="gray">
              <a:xfrm rot="10587065">
                <a:off x="9405356" y="3713664"/>
                <a:ext cx="550070" cy="963217"/>
              </a:xfrm>
              <a:prstGeom prst="curvedRightArrow">
                <a:avLst>
                  <a:gd name="adj1" fmla="val 35022"/>
                  <a:gd name="adj2" fmla="val 70043"/>
                  <a:gd name="adj3" fmla="val 33333"/>
                </a:avLst>
              </a:prstGeom>
              <a:solidFill>
                <a:schemeClr val="tx1">
                  <a:lumMod val="75000"/>
                </a:schemeClr>
              </a:solidFill>
              <a:ln w="12700">
                <a:solidFill>
                  <a:schemeClr val="tx1">
                    <a:lumMod val="60000"/>
                    <a:lumOff val="40000"/>
                  </a:schemeClr>
                </a:solidFill>
                <a:miter lim="800000"/>
                <a:headEnd/>
                <a:tailEnd type="none" w="med" len="lg"/>
              </a:ln>
              <a:effectLst/>
            </p:spPr>
            <p:txBody>
              <a:bodyPr wrap="none" lIns="0" tIns="0" rIns="0" bIns="0" anchor="ctr"/>
              <a:lstStyle/>
              <a:p>
                <a:endParaRPr lang="de-DE" sz="1013">
                  <a:solidFill>
                    <a:srgbClr val="92D050"/>
                  </a:solidFill>
                </a:endParaRPr>
              </a:p>
            </p:txBody>
          </p:sp>
          <p:sp>
            <p:nvSpPr>
              <p:cNvPr id="18" name="Text Box 22">
                <a:extLst>
                  <a:ext uri="{FF2B5EF4-FFF2-40B4-BE49-F238E27FC236}">
                    <a16:creationId xmlns:a16="http://schemas.microsoft.com/office/drawing/2014/main" id="{5DD812DF-8AAB-47C6-9856-2ADEBC1CBCCB}"/>
                  </a:ext>
                </a:extLst>
              </p:cNvPr>
              <p:cNvSpPr txBox="1">
                <a:spLocks noChangeArrowheads="1"/>
              </p:cNvSpPr>
              <p:nvPr/>
            </p:nvSpPr>
            <p:spPr bwMode="gray">
              <a:xfrm>
                <a:off x="7220996" y="3691317"/>
                <a:ext cx="2226115" cy="459041"/>
              </a:xfrm>
              <a:prstGeom prst="rect">
                <a:avLst/>
              </a:prstGeom>
              <a:noFill/>
              <a:ln>
                <a:noFill/>
              </a:ln>
              <a:effectLst/>
              <a:extLst>
                <a:ext uri="{909E8E84-426E-40DD-AFC4-6F175D3DCCD1}">
                  <a14:hiddenFill xmlns:a14="http://schemas.microsoft.com/office/drawing/2010/main">
                    <a:solidFill>
                      <a:srgbClr val="B4B4B4"/>
                    </a:solidFill>
                  </a14:hiddenFill>
                </a:ext>
                <a:ext uri="{91240B29-F687-4F45-9708-019B960494DF}">
                  <a14:hiddenLine xmlns:a14="http://schemas.microsoft.com/office/drawing/2010/main" w="12700">
                    <a:solidFill>
                      <a:srgbClr val="B4B4B4"/>
                    </a:solidFill>
                    <a:miter lim="800000"/>
                    <a:headEnd/>
                    <a:tailEnd type="none" w="med"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p>
                <a:r>
                  <a:rPr lang="de-DE" altLang="de-DE" sz="1000" b="1">
                    <a:solidFill>
                      <a:srgbClr val="0000FF"/>
                    </a:solidFill>
                    <a:latin typeface="Arial"/>
                    <a:cs typeface="Arial"/>
                  </a:rPr>
                  <a:t>Turbinenleistung</a:t>
                </a:r>
              </a:p>
              <a:p>
                <a:r>
                  <a:rPr lang="de-DE" altLang="de-DE" sz="1000" b="1">
                    <a:solidFill>
                      <a:srgbClr val="0000FF"/>
                    </a:solidFill>
                    <a:latin typeface="Arial"/>
                    <a:cs typeface="Arial"/>
                  </a:rPr>
                  <a:t>P = 4x40 MW = 160 MW</a:t>
                </a:r>
              </a:p>
            </p:txBody>
          </p:sp>
          <p:sp>
            <p:nvSpPr>
              <p:cNvPr id="19" name="Text Box 23">
                <a:extLst>
                  <a:ext uri="{FF2B5EF4-FFF2-40B4-BE49-F238E27FC236}">
                    <a16:creationId xmlns:a16="http://schemas.microsoft.com/office/drawing/2014/main" id="{F232DC2A-6C4C-45B6-86D9-D74FF00990DC}"/>
                  </a:ext>
                </a:extLst>
              </p:cNvPr>
              <p:cNvSpPr txBox="1">
                <a:spLocks noChangeArrowheads="1"/>
              </p:cNvSpPr>
              <p:nvPr/>
            </p:nvSpPr>
            <p:spPr bwMode="gray">
              <a:xfrm>
                <a:off x="7144890" y="4435509"/>
                <a:ext cx="2301487" cy="459041"/>
              </a:xfrm>
              <a:prstGeom prst="rect">
                <a:avLst/>
              </a:prstGeom>
              <a:noFill/>
              <a:ln>
                <a:noFill/>
              </a:ln>
              <a:effectLst/>
              <a:extLst>
                <a:ext uri="{909E8E84-426E-40DD-AFC4-6F175D3DCCD1}">
                  <a14:hiddenFill xmlns:a14="http://schemas.microsoft.com/office/drawing/2010/main">
                    <a:solidFill>
                      <a:srgbClr val="B4B4B4"/>
                    </a:solidFill>
                  </a14:hiddenFill>
                </a:ext>
                <a:ext uri="{91240B29-F687-4F45-9708-019B960494DF}">
                  <a14:hiddenLine xmlns:a14="http://schemas.microsoft.com/office/drawing/2010/main" w="12700">
                    <a:solidFill>
                      <a:srgbClr val="B4B4B4"/>
                    </a:solidFill>
                    <a:miter lim="800000"/>
                    <a:headEnd/>
                    <a:tailEnd type="none" w="med"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p>
                <a:pPr algn="l"/>
                <a:r>
                  <a:rPr lang="de-DE" altLang="de-DE" sz="1000" b="1">
                    <a:solidFill>
                      <a:srgbClr val="92D050"/>
                    </a:solidFill>
                    <a:latin typeface="Arial"/>
                    <a:cs typeface="Arial"/>
                  </a:rPr>
                  <a:t>Pumpleistung</a:t>
                </a:r>
              </a:p>
              <a:p>
                <a:pPr algn="l"/>
                <a:r>
                  <a:rPr lang="de-DE" altLang="de-DE" sz="1000" b="1">
                    <a:solidFill>
                      <a:srgbClr val="92D050"/>
                    </a:solidFill>
                    <a:latin typeface="Arial"/>
                    <a:cs typeface="Arial"/>
                  </a:rPr>
                  <a:t>P = 4x35 MW = 140 MW</a:t>
                </a:r>
              </a:p>
            </p:txBody>
          </p:sp>
          <p:sp>
            <p:nvSpPr>
              <p:cNvPr id="20" name="AutoShape 24">
                <a:extLst>
                  <a:ext uri="{FF2B5EF4-FFF2-40B4-BE49-F238E27FC236}">
                    <a16:creationId xmlns:a16="http://schemas.microsoft.com/office/drawing/2014/main" id="{A3808531-CD29-431E-8671-F1B7906AFA5E}"/>
                  </a:ext>
                </a:extLst>
              </p:cNvPr>
              <p:cNvSpPr>
                <a:spLocks noChangeArrowheads="1"/>
              </p:cNvSpPr>
              <p:nvPr/>
            </p:nvSpPr>
            <p:spPr bwMode="gray">
              <a:xfrm>
                <a:off x="6566794" y="3816575"/>
                <a:ext cx="550069" cy="963215"/>
              </a:xfrm>
              <a:prstGeom prst="curvedRightArrow">
                <a:avLst>
                  <a:gd name="adj1" fmla="val 35022"/>
                  <a:gd name="adj2" fmla="val 70043"/>
                  <a:gd name="adj3" fmla="val 33333"/>
                </a:avLst>
              </a:prstGeom>
              <a:solidFill>
                <a:srgbClr val="0000FF"/>
              </a:solidFill>
              <a:ln w="12700">
                <a:solidFill>
                  <a:srgbClr val="0000FF"/>
                </a:solidFill>
                <a:miter lim="800000"/>
                <a:headEnd/>
                <a:tailEnd type="none" w="med"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sz="1013"/>
              </a:p>
            </p:txBody>
          </p:sp>
        </p:grpSp>
        <p:sp>
          <p:nvSpPr>
            <p:cNvPr id="109" name="TextBox 11">
              <a:extLst>
                <a:ext uri="{FF2B5EF4-FFF2-40B4-BE49-F238E27FC236}">
                  <a16:creationId xmlns:a16="http://schemas.microsoft.com/office/drawing/2014/main" id="{38DD94A9-AA28-4110-BDD6-FA0495ACC14A}"/>
                </a:ext>
              </a:extLst>
            </p:cNvPr>
            <p:cNvSpPr txBox="1"/>
            <p:nvPr/>
          </p:nvSpPr>
          <p:spPr>
            <a:xfrm>
              <a:off x="4831796" y="5009573"/>
              <a:ext cx="1648247" cy="369332"/>
            </a:xfrm>
            <a:prstGeom prst="rect">
              <a:avLst/>
            </a:prstGeom>
            <a:solidFill>
              <a:schemeClr val="tx2"/>
            </a:solidFill>
          </p:spPr>
          <p:txBody>
            <a:bodyPr wrap="square">
              <a:spAutoFit/>
            </a:bodyPr>
            <a:lstStyle/>
            <a:p>
              <a:r>
                <a:rPr lang="de-DE" sz="1200" b="1">
                  <a:solidFill>
                    <a:schemeClr val="bg2"/>
                  </a:solidFill>
                  <a:highlight>
                    <a:srgbClr val="0078DC"/>
                  </a:highlight>
                  <a:latin typeface="+mj-lt"/>
                </a:rPr>
                <a:t>Krafthaus</a:t>
              </a:r>
              <a:endParaRPr lang="de-DE" sz="900" b="1">
                <a:solidFill>
                  <a:schemeClr val="bg2"/>
                </a:solidFill>
                <a:highlight>
                  <a:srgbClr val="0078DC"/>
                </a:highlight>
                <a:latin typeface="+mj-lt"/>
              </a:endParaRPr>
            </a:p>
          </p:txBody>
        </p:sp>
      </p:grpSp>
      <p:sp>
        <p:nvSpPr>
          <p:cNvPr id="113" name="2_Footnote">
            <a:extLst>
              <a:ext uri="{FF2B5EF4-FFF2-40B4-BE49-F238E27FC236}">
                <a16:creationId xmlns:a16="http://schemas.microsoft.com/office/drawing/2014/main" id="{9FA80C08-AEA9-4D0C-BD6C-E871EDA89118}"/>
              </a:ext>
            </a:extLst>
          </p:cNvPr>
          <p:cNvSpPr txBox="1"/>
          <p:nvPr>
            <p:custDataLst>
              <p:tags r:id="rId1"/>
            </p:custDataLst>
          </p:nvPr>
        </p:nvSpPr>
        <p:spPr>
          <a:xfrm>
            <a:off x="3546531" y="4834396"/>
            <a:ext cx="4859998" cy="232886"/>
          </a:xfrm>
          <a:prstGeom prst="rect">
            <a:avLst/>
          </a:prstGeom>
          <a:noFill/>
        </p:spPr>
        <p:txBody>
          <a:bodyPr vert="horz" wrap="square" lIns="0" tIns="0" rIns="0" bIns="0" rtlCol="0" anchor="b">
            <a:noAutofit/>
          </a:bodyPr>
          <a:lstStyle/>
          <a:p>
            <a:r>
              <a:rPr lang="de-DE" sz="600">
                <a:solidFill>
                  <a:srgbClr val="5E5E5E"/>
                </a:solidFill>
              </a:rPr>
              <a:t>* Hochwasserschutzfunktion der Anlage</a:t>
            </a:r>
          </a:p>
        </p:txBody>
      </p:sp>
    </p:spTree>
    <p:extLst>
      <p:ext uri="{BB962C8B-B14F-4D97-AF65-F5344CB8AC3E}">
        <p14:creationId xmlns:p14="http://schemas.microsoft.com/office/powerpoint/2010/main" val="5405427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540CD6-A815-7991-66C0-DB8ADD56A205}"/>
              </a:ext>
            </a:extLst>
          </p:cNvPr>
          <p:cNvSpPr>
            <a:spLocks noGrp="1"/>
          </p:cNvSpPr>
          <p:nvPr>
            <p:ph type="title"/>
          </p:nvPr>
        </p:nvSpPr>
        <p:spPr>
          <a:xfrm>
            <a:off x="467544" y="166500"/>
            <a:ext cx="8136000" cy="675000"/>
          </a:xfrm>
        </p:spPr>
        <p:txBody>
          <a:bodyPr/>
          <a:lstStyle/>
          <a:p>
            <a:r>
              <a:rPr lang="de-DE" sz="2000"/>
              <a:t>Genehmigungssituation</a:t>
            </a:r>
            <a:endParaRPr lang="en-DE" sz="2000"/>
          </a:p>
        </p:txBody>
      </p:sp>
      <p:sp>
        <p:nvSpPr>
          <p:cNvPr id="4" name="Foliennummernplatzhalter 3">
            <a:extLst>
              <a:ext uri="{FF2B5EF4-FFF2-40B4-BE49-F238E27FC236}">
                <a16:creationId xmlns:a16="http://schemas.microsoft.com/office/drawing/2014/main" id="{16DC1C42-CC90-D719-CED7-9B3D465C9C60}"/>
              </a:ext>
            </a:extLst>
          </p:cNvPr>
          <p:cNvSpPr>
            <a:spLocks noGrp="1"/>
          </p:cNvSpPr>
          <p:nvPr>
            <p:ph type="sldNum" sz="quarter" idx="12"/>
          </p:nvPr>
        </p:nvSpPr>
        <p:spPr/>
        <p:txBody>
          <a:bodyPr/>
          <a:lstStyle/>
          <a:p>
            <a:fld id="{9D543ADB-E95E-4587-963D-D3C6AB2E96C0}" type="slidenum">
              <a:rPr lang="de-DE" smtClean="0"/>
              <a:pPr/>
              <a:t>5</a:t>
            </a:fld>
            <a:endParaRPr lang="de-DE"/>
          </a:p>
        </p:txBody>
      </p:sp>
      <p:sp>
        <p:nvSpPr>
          <p:cNvPr id="5" name="Inhaltsplatzhalter 2">
            <a:extLst>
              <a:ext uri="{FF2B5EF4-FFF2-40B4-BE49-F238E27FC236}">
                <a16:creationId xmlns:a16="http://schemas.microsoft.com/office/drawing/2014/main" id="{C79C6E59-F291-9CBF-0819-4344102C54F8}"/>
              </a:ext>
            </a:extLst>
          </p:cNvPr>
          <p:cNvSpPr>
            <a:spLocks noGrp="1"/>
          </p:cNvSpPr>
          <p:nvPr>
            <p:ph sz="half" idx="1"/>
          </p:nvPr>
        </p:nvSpPr>
        <p:spPr>
          <a:xfrm>
            <a:off x="461906" y="605968"/>
            <a:ext cx="4092000" cy="4379433"/>
          </a:xfrm>
        </p:spPr>
        <p:txBody>
          <a:bodyPr vert="horz" lIns="0" tIns="0" rIns="0" bIns="0" rtlCol="0" anchor="t">
            <a:noAutofit/>
          </a:bodyPr>
          <a:lstStyle/>
          <a:p>
            <a:pPr marL="1270" lvl="1" indent="0">
              <a:buNone/>
            </a:pPr>
            <a:r>
              <a:rPr lang="de-DE" sz="1150" b="1" dirty="0">
                <a:solidFill>
                  <a:schemeClr val="tx2"/>
                </a:solidFill>
              </a:rPr>
              <a:t>Oberbecken:</a:t>
            </a:r>
            <a:endParaRPr lang="de-DE" sz="1150" dirty="0">
              <a:solidFill>
                <a:schemeClr val="tx2"/>
              </a:solidFill>
            </a:endParaRPr>
          </a:p>
          <a:p>
            <a:pPr marL="207645" lvl="1"/>
            <a:r>
              <a:rPr lang="de-DE" sz="1150" dirty="0"/>
              <a:t>Die Sanierung des Oberbeckens ist genehmigungspflichtig, der Planfeststellungsantrag wurde im Januar 2023 eingereicht</a:t>
            </a:r>
            <a:endParaRPr lang="de-DE" sz="1150" dirty="0">
              <a:cs typeface="Arial"/>
            </a:endParaRPr>
          </a:p>
          <a:p>
            <a:pPr marL="207645" lvl="1"/>
            <a:r>
              <a:rPr lang="de-DE" sz="1150" dirty="0"/>
              <a:t>Im August 2023 wurde seitens des LRA Nürnberger Land die Vollständigkeit bestätigt und in das Beteiligungsverfahren übergeleitet</a:t>
            </a:r>
            <a:endParaRPr lang="de-DE" sz="1150" dirty="0">
              <a:cs typeface="Arial"/>
            </a:endParaRPr>
          </a:p>
          <a:p>
            <a:pPr marL="207645" lvl="1"/>
            <a:r>
              <a:rPr lang="de-DE" sz="1150" dirty="0"/>
              <a:t>Die Unterlagen lagen von Mitte Oktober bis Mitte November 2023 bei den Gemeinden aus, parallel fand die Beteiligung der Träger Öffentlicher Belange statt</a:t>
            </a:r>
            <a:endParaRPr lang="de-DE" sz="1150" dirty="0">
              <a:cs typeface="Arial"/>
            </a:endParaRPr>
          </a:p>
          <a:p>
            <a:pPr marL="207645" lvl="1"/>
            <a:r>
              <a:rPr lang="de-DE" sz="1150" dirty="0"/>
              <a:t>Im Juni 2024 wurde die beantragte Sanierung planfestgestellt und Uniper hat entschieden, das PSW HAP zu revitalisieren</a:t>
            </a:r>
            <a:endParaRPr lang="de-DE" sz="1150" dirty="0">
              <a:cs typeface="Arial"/>
            </a:endParaRPr>
          </a:p>
          <a:p>
            <a:pPr marL="207645" lvl="1"/>
            <a:r>
              <a:rPr lang="de-DE" sz="1150" dirty="0"/>
              <a:t>Die Revisionsarbeiten im Krafthaus sowie an den Druckrohrleitungen fallen unter die bestehende Betriebsgenehmigung </a:t>
            </a:r>
            <a:endParaRPr lang="de-DE" sz="1150" dirty="0">
              <a:cs typeface="Arial"/>
            </a:endParaRPr>
          </a:p>
          <a:p>
            <a:pPr marL="207645" lvl="1"/>
            <a:r>
              <a:rPr lang="de-DE" sz="1150" dirty="0"/>
              <a:t>Die ursprünglich genehmigten Stauziele am Unter- und Oberbecken gelten unverändert fort, die Einschränkung bzgl. des Stauziels am Oberbecken aus dem Jahr 1983 wurde mit dem aktuellen Bescheid aufgehoben</a:t>
            </a:r>
            <a:endParaRPr lang="de-DE" sz="1150" dirty="0">
              <a:highlight>
                <a:srgbClr val="FFFF00"/>
              </a:highlight>
              <a:cs typeface="Arial"/>
            </a:endParaRPr>
          </a:p>
        </p:txBody>
      </p:sp>
      <p:sp>
        <p:nvSpPr>
          <p:cNvPr id="6" name="Inhaltsplatzhalter 3">
            <a:extLst>
              <a:ext uri="{FF2B5EF4-FFF2-40B4-BE49-F238E27FC236}">
                <a16:creationId xmlns:a16="http://schemas.microsoft.com/office/drawing/2014/main" id="{CB45338A-0969-7A4B-8D0F-9757B5E3051D}"/>
              </a:ext>
            </a:extLst>
          </p:cNvPr>
          <p:cNvSpPr txBox="1">
            <a:spLocks/>
          </p:cNvSpPr>
          <p:nvPr/>
        </p:nvSpPr>
        <p:spPr>
          <a:xfrm>
            <a:off x="5004048" y="609894"/>
            <a:ext cx="3888000" cy="3258000"/>
          </a:xfrm>
          <a:prstGeom prst="rect">
            <a:avLst/>
          </a:prstGeom>
        </p:spPr>
        <p:txBody>
          <a:bodyPr lIns="91440" tIns="45720" rIns="91440" bIns="45720" anchor="t"/>
          <a:lstStyle>
            <a:lvl1pPr marL="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6pPr>
            <a:lvl7pPr marL="6175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7pPr>
            <a:lvl8pPr marL="820738" indent="-203200" algn="l" defTabSz="914400" rtl="0" eaLnBrk="1" latinLnBrk="0" hangingPunct="1">
              <a:spcBef>
                <a:spcPts val="0"/>
              </a:spcBef>
              <a:spcAft>
                <a:spcPts val="600"/>
              </a:spcAft>
              <a:buClr>
                <a:srgbClr val="0078DC"/>
              </a:buClr>
              <a:buFont typeface="Wingdings" pitchFamily="2" charset="2"/>
              <a:buChar char=""/>
              <a:defRPr sz="1600" kern="1200" baseline="0">
                <a:solidFill>
                  <a:srgbClr val="5E5E5E"/>
                </a:solidFill>
                <a:latin typeface="+mn-lt"/>
                <a:ea typeface="+mn-ea"/>
                <a:cs typeface="+mn-cs"/>
              </a:defRPr>
            </a:lvl8pPr>
            <a:lvl9pPr marL="8207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9pPr>
          </a:lstStyle>
          <a:p>
            <a:pPr marL="1270" lvl="1" indent="0">
              <a:buFont typeface="Wingdings" pitchFamily="2" charset="2"/>
              <a:buNone/>
            </a:pPr>
            <a:r>
              <a:rPr lang="de-DE" sz="1200" b="1" dirty="0">
                <a:solidFill>
                  <a:schemeClr val="tx2"/>
                </a:solidFill>
              </a:rPr>
              <a:t>Inhalt des </a:t>
            </a:r>
            <a:r>
              <a:rPr lang="de-DE" sz="1200" b="1" dirty="0" err="1">
                <a:solidFill>
                  <a:schemeClr val="tx2"/>
                </a:solidFill>
              </a:rPr>
              <a:t>Planfestellungsantrages</a:t>
            </a:r>
            <a:r>
              <a:rPr lang="de-DE" sz="1200" b="1" dirty="0">
                <a:solidFill>
                  <a:schemeClr val="tx2"/>
                </a:solidFill>
              </a:rPr>
              <a:t>:</a:t>
            </a:r>
            <a:endParaRPr lang="de-DE"/>
          </a:p>
          <a:p>
            <a:pPr marL="207645" lvl="1"/>
            <a:r>
              <a:rPr lang="de-DE" sz="1200" dirty="0"/>
              <a:t>Sanierung des Oberbeckens durch Verstärkung der Beckensohle in Kombination mit einem zweischaligen Dichtungssystem in der Beckensohle und der Ringdammböschung</a:t>
            </a:r>
            <a:endParaRPr lang="de-DE" sz="1200" dirty="0">
              <a:cs typeface="Arial"/>
            </a:endParaRPr>
          </a:p>
          <a:p>
            <a:pPr marL="207645" lvl="1"/>
            <a:r>
              <a:rPr lang="de-DE" sz="1200" dirty="0"/>
              <a:t>Installation eines zeitgemäßen und zuverlässigen Mess- und Kontrollsystems</a:t>
            </a:r>
            <a:endParaRPr lang="de-DE" sz="1200" dirty="0">
              <a:cs typeface="Arial"/>
            </a:endParaRPr>
          </a:p>
          <a:p>
            <a:pPr marL="207645" lvl="1"/>
            <a:r>
              <a:rPr lang="de-DE" sz="1200" dirty="0"/>
              <a:t>Untersuchung der umweltfachlichen Auswirkungen des Vorhabens und Ermittlung des Kompensationsbedarfs </a:t>
            </a:r>
            <a:endParaRPr lang="de-DE" sz="1200" dirty="0">
              <a:cs typeface="Arial"/>
            </a:endParaRPr>
          </a:p>
          <a:p>
            <a:pPr marL="207645" lvl="1"/>
            <a:endParaRPr lang="de-DE" sz="1200" dirty="0">
              <a:cs typeface="Arial"/>
            </a:endParaRPr>
          </a:p>
        </p:txBody>
      </p:sp>
      <p:grpSp>
        <p:nvGrpSpPr>
          <p:cNvPr id="7" name="Gruppieren 6">
            <a:extLst>
              <a:ext uri="{FF2B5EF4-FFF2-40B4-BE49-F238E27FC236}">
                <a16:creationId xmlns:a16="http://schemas.microsoft.com/office/drawing/2014/main" id="{F2E8A42F-9598-CFBE-4C63-EE12BFB84315}"/>
              </a:ext>
            </a:extLst>
          </p:cNvPr>
          <p:cNvGrpSpPr/>
          <p:nvPr/>
        </p:nvGrpSpPr>
        <p:grpSpPr>
          <a:xfrm>
            <a:off x="5145586" y="2765384"/>
            <a:ext cx="3720129" cy="1466787"/>
            <a:chOff x="5066018" y="2280270"/>
            <a:chExt cx="3720129" cy="1466787"/>
          </a:xfrm>
        </p:grpSpPr>
        <p:pic>
          <p:nvPicPr>
            <p:cNvPr id="3" name="Picture 7" descr="A ant hole in the dirt&#10;&#10;Description automatically generated">
              <a:extLst>
                <a:ext uri="{FF2B5EF4-FFF2-40B4-BE49-F238E27FC236}">
                  <a16:creationId xmlns:a16="http://schemas.microsoft.com/office/drawing/2014/main" id="{43B39927-357F-B913-14F5-78C898CC8E5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a:off x="5066018" y="2280270"/>
              <a:ext cx="1761769" cy="1465344"/>
            </a:xfrm>
            <a:prstGeom prst="rect">
              <a:avLst/>
            </a:prstGeom>
          </p:spPr>
        </p:pic>
        <p:pic>
          <p:nvPicPr>
            <p:cNvPr id="8" name="Picture 9" descr="A pile of rocks and dirt in the woods&#10;&#10;Description automatically generated">
              <a:extLst>
                <a:ext uri="{FF2B5EF4-FFF2-40B4-BE49-F238E27FC236}">
                  <a16:creationId xmlns:a16="http://schemas.microsoft.com/office/drawing/2014/main" id="{7D2118A6-C2A7-983F-B050-9D923889488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47945" y="2281712"/>
              <a:ext cx="1838202" cy="1465345"/>
            </a:xfrm>
            <a:prstGeom prst="rect">
              <a:avLst/>
            </a:prstGeom>
          </p:spPr>
        </p:pic>
      </p:grpSp>
      <p:sp>
        <p:nvSpPr>
          <p:cNvPr id="10" name="Textfeld 9">
            <a:extLst>
              <a:ext uri="{FF2B5EF4-FFF2-40B4-BE49-F238E27FC236}">
                <a16:creationId xmlns:a16="http://schemas.microsoft.com/office/drawing/2014/main" id="{4017ACD1-5837-6D25-D628-CFAF6D5EAAA8}"/>
              </a:ext>
            </a:extLst>
          </p:cNvPr>
          <p:cNvSpPr txBox="1"/>
          <p:nvPr/>
        </p:nvSpPr>
        <p:spPr>
          <a:xfrm>
            <a:off x="5090194" y="4311288"/>
            <a:ext cx="3634321" cy="553998"/>
          </a:xfrm>
          <a:prstGeom prst="rect">
            <a:avLst/>
          </a:prstGeom>
          <a:noFill/>
        </p:spPr>
        <p:txBody>
          <a:bodyPr wrap="square" lIns="91440" tIns="45720" rIns="91440" bIns="45720" anchor="t">
            <a:spAutoFit/>
          </a:bodyPr>
          <a:lstStyle/>
          <a:p>
            <a:r>
              <a:rPr lang="de-DE" sz="1000" dirty="0">
                <a:solidFill>
                  <a:srgbClr val="5E5E5E"/>
                </a:solidFill>
                <a:latin typeface="+mn-lt"/>
              </a:rPr>
              <a:t>In diesem Zusammenhang wurden insb. neue Lebensräume für Zauneidechse und Feldlerche geschaffen, die Umsiedlung der Tiere hat bereits begonnen</a:t>
            </a:r>
            <a:endParaRPr lang="de-DE" sz="1000" dirty="0"/>
          </a:p>
        </p:txBody>
      </p:sp>
    </p:spTree>
    <p:extLst>
      <p:ext uri="{BB962C8B-B14F-4D97-AF65-F5344CB8AC3E}">
        <p14:creationId xmlns:p14="http://schemas.microsoft.com/office/powerpoint/2010/main" val="39625101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Projektumfang und angestrebter Zeitplan</a:t>
            </a:r>
            <a:endParaRPr lang="en-DE"/>
          </a:p>
        </p:txBody>
      </p:sp>
      <p:sp>
        <p:nvSpPr>
          <p:cNvPr id="3" name="Inhaltsplatzhalter 2"/>
          <p:cNvSpPr>
            <a:spLocks noGrp="1"/>
          </p:cNvSpPr>
          <p:nvPr>
            <p:ph sz="half" idx="1"/>
          </p:nvPr>
        </p:nvSpPr>
        <p:spPr>
          <a:xfrm>
            <a:off x="504000" y="913175"/>
            <a:ext cx="3447644" cy="3381940"/>
          </a:xfrm>
        </p:spPr>
        <p:txBody>
          <a:bodyPr vert="horz" lIns="0" tIns="0" rIns="0" bIns="0" rtlCol="0" anchor="t">
            <a:noAutofit/>
          </a:bodyPr>
          <a:lstStyle/>
          <a:p>
            <a:pPr marL="1270" lvl="1" indent="0">
              <a:buNone/>
            </a:pPr>
            <a:r>
              <a:rPr lang="de-DE" b="1">
                <a:solidFill>
                  <a:schemeClr val="tx2"/>
                </a:solidFill>
              </a:rPr>
              <a:t>Oberbecken:</a:t>
            </a:r>
            <a:endParaRPr lang="de-DE"/>
          </a:p>
          <a:p>
            <a:pPr marL="207645" lvl="1"/>
            <a:r>
              <a:rPr lang="de-DE" sz="1200"/>
              <a:t>Sanierung der Beckensohle</a:t>
            </a:r>
            <a:endParaRPr lang="de-DE" sz="1200">
              <a:cs typeface="Arial"/>
            </a:endParaRPr>
          </a:p>
          <a:p>
            <a:pPr marL="207645" lvl="1"/>
            <a:r>
              <a:rPr lang="de-DE" sz="1200"/>
              <a:t>Einbau eines zweischaliges Dichtungssystems</a:t>
            </a:r>
            <a:endParaRPr lang="de-DE" sz="1200">
              <a:cs typeface="Arial"/>
            </a:endParaRPr>
          </a:p>
          <a:p>
            <a:pPr marL="207645" lvl="1"/>
            <a:r>
              <a:rPr lang="de-DE" sz="1200"/>
              <a:t>Installation eines umfassendes Monitoring-Systems</a:t>
            </a:r>
            <a:endParaRPr lang="de-DE" sz="1200">
              <a:cs typeface="Arial"/>
            </a:endParaRPr>
          </a:p>
          <a:p>
            <a:pPr marL="207645" lvl="1"/>
            <a:r>
              <a:rPr lang="de-DE" sz="1200" err="1"/>
              <a:t>Andeckung</a:t>
            </a:r>
            <a:r>
              <a:rPr lang="de-DE" sz="1200"/>
              <a:t> Überschussmaterial auf der Luftseite des Dammes</a:t>
            </a:r>
            <a:endParaRPr lang="de-DE" sz="1200">
              <a:cs typeface="Arial"/>
            </a:endParaRPr>
          </a:p>
          <a:p>
            <a:pPr marL="1270" lvl="1" indent="0">
              <a:buNone/>
            </a:pPr>
            <a:r>
              <a:rPr lang="de-DE" b="1">
                <a:solidFill>
                  <a:schemeClr val="tx2"/>
                </a:solidFill>
              </a:rPr>
              <a:t>Krafthaus &amp; Druckrohrleitungen:</a:t>
            </a:r>
            <a:endParaRPr lang="de-DE" b="1">
              <a:solidFill>
                <a:schemeClr val="tx2"/>
              </a:solidFill>
              <a:cs typeface="Arial"/>
            </a:endParaRPr>
          </a:p>
          <a:p>
            <a:pPr marL="207645" lvl="1"/>
            <a:r>
              <a:rPr lang="de-DE" sz="1200"/>
              <a:t>Austausch Motorgeneratoren</a:t>
            </a:r>
            <a:endParaRPr lang="de-DE" sz="1200">
              <a:cs typeface="Arial"/>
            </a:endParaRPr>
          </a:p>
          <a:p>
            <a:pPr marL="207645" lvl="1"/>
            <a:r>
              <a:rPr lang="de-DE" sz="1200"/>
              <a:t>Austausch Trafos</a:t>
            </a:r>
            <a:endParaRPr lang="de-DE" sz="1200">
              <a:cs typeface="Arial"/>
            </a:endParaRPr>
          </a:p>
          <a:p>
            <a:pPr marL="207645" lvl="1"/>
            <a:r>
              <a:rPr lang="de-DE" sz="1200"/>
              <a:t>Kompletterneuerung der Leittechnik</a:t>
            </a:r>
            <a:endParaRPr lang="de-DE" sz="1200">
              <a:cs typeface="Arial"/>
            </a:endParaRPr>
          </a:p>
          <a:p>
            <a:pPr marL="207645" lvl="1"/>
            <a:r>
              <a:rPr lang="de-DE" sz="1200"/>
              <a:t>Revision der Hilfssysteme</a:t>
            </a:r>
            <a:endParaRPr lang="de-DE" sz="1200">
              <a:cs typeface="Arial"/>
            </a:endParaRPr>
          </a:p>
          <a:p>
            <a:pPr marL="207645" lvl="1"/>
            <a:r>
              <a:rPr lang="de-DE" sz="1200"/>
              <a:t>Sanierung der Beschichtung der Druckrohrleitungen</a:t>
            </a:r>
            <a:endParaRPr lang="de-DE" sz="1200">
              <a:cs typeface="Arial"/>
            </a:endParaRPr>
          </a:p>
          <a:p>
            <a:pPr marL="207645" lvl="1"/>
            <a:endParaRPr lang="en-DE" sz="1200">
              <a:cs typeface="Arial"/>
            </a:endParaRPr>
          </a:p>
        </p:txBody>
      </p:sp>
      <p:sp>
        <p:nvSpPr>
          <p:cNvPr id="5" name="Foliennummernplatzhalter 4"/>
          <p:cNvSpPr>
            <a:spLocks noGrp="1"/>
          </p:cNvSpPr>
          <p:nvPr>
            <p:ph type="sldNum" sz="quarter" idx="12"/>
          </p:nvPr>
        </p:nvSpPr>
        <p:spPr/>
        <p:txBody>
          <a:bodyPr/>
          <a:lstStyle/>
          <a:p>
            <a:fld id="{9D543ADB-E95E-4587-963D-D3C6AB2E96C0}" type="slidenum">
              <a:rPr lang="en-DE" smtClean="0"/>
              <a:pPr/>
              <a:t>6</a:t>
            </a:fld>
            <a:endParaRPr lang="en-DE"/>
          </a:p>
        </p:txBody>
      </p:sp>
      <p:sp>
        <p:nvSpPr>
          <p:cNvPr id="8" name="Rechteck: eine Ecke abgerundet 7">
            <a:extLst>
              <a:ext uri="{FF2B5EF4-FFF2-40B4-BE49-F238E27FC236}">
                <a16:creationId xmlns:a16="http://schemas.microsoft.com/office/drawing/2014/main" id="{0EB0684D-655C-1A9C-A215-B9C7982A8ACC}"/>
              </a:ext>
            </a:extLst>
          </p:cNvPr>
          <p:cNvSpPr/>
          <p:nvPr/>
        </p:nvSpPr>
        <p:spPr>
          <a:xfrm flipV="1">
            <a:off x="4614150" y="915566"/>
            <a:ext cx="4060290" cy="2933420"/>
          </a:xfrm>
          <a:prstGeom prst="round1Rect">
            <a:avLst/>
          </a:prstGeom>
          <a:solidFill>
            <a:srgbClr val="29527A"/>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en-US" sz="1300">
              <a:solidFill>
                <a:srgbClr val="E6F4FE"/>
              </a:solidFill>
              <a:cs typeface="Arial" panose="020B0604020202020204" pitchFamily="34" charset="0"/>
            </a:endParaRPr>
          </a:p>
        </p:txBody>
      </p:sp>
      <p:sp>
        <p:nvSpPr>
          <p:cNvPr id="9" name="Textfeld 6">
            <a:extLst>
              <a:ext uri="{FF2B5EF4-FFF2-40B4-BE49-F238E27FC236}">
                <a16:creationId xmlns:a16="http://schemas.microsoft.com/office/drawing/2014/main" id="{AEA965EE-B824-9A12-936A-F0ACBFDF885F}"/>
              </a:ext>
            </a:extLst>
          </p:cNvPr>
          <p:cNvSpPr txBox="1"/>
          <p:nvPr/>
        </p:nvSpPr>
        <p:spPr>
          <a:xfrm>
            <a:off x="4606499" y="1308747"/>
            <a:ext cx="4092575" cy="2470150"/>
          </a:xfrm>
          <a:prstGeom prst="rect">
            <a:avLst/>
          </a:prstGeom>
          <a:noFill/>
        </p:spPr>
        <p:txBody>
          <a:bodyPr lIns="72000" tIns="72000" rIns="72000" bIns="72000" anchor="t"/>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lvl="1" eaLnBrk="1" hangingPunct="1">
              <a:lnSpc>
                <a:spcPct val="110000"/>
              </a:lnSpc>
              <a:spcBef>
                <a:spcPts val="0"/>
              </a:spcBef>
              <a:spcAft>
                <a:spcPts val="600"/>
              </a:spcAft>
              <a:buClr>
                <a:schemeClr val="bg1"/>
              </a:buClr>
              <a:buSzPct val="100000"/>
              <a:defRPr/>
            </a:pPr>
            <a:r>
              <a:rPr lang="en-US" sz="1400" b="1" err="1">
                <a:solidFill>
                  <a:schemeClr val="bg1"/>
                </a:solidFill>
                <a:latin typeface="Arial"/>
                <a:cs typeface="Arial"/>
              </a:rPr>
              <a:t>Angestrebter</a:t>
            </a:r>
            <a:r>
              <a:rPr lang="en-US" sz="1400" b="1">
                <a:solidFill>
                  <a:schemeClr val="bg1"/>
                </a:solidFill>
                <a:latin typeface="Arial"/>
                <a:cs typeface="Arial"/>
              </a:rPr>
              <a:t> </a:t>
            </a:r>
            <a:r>
              <a:rPr lang="en-US" sz="1400" b="1" err="1">
                <a:solidFill>
                  <a:schemeClr val="bg1"/>
                </a:solidFill>
                <a:latin typeface="Arial"/>
                <a:cs typeface="Arial"/>
              </a:rPr>
              <a:t>Zeitplan</a:t>
            </a:r>
            <a:endParaRPr lang="en-US" sz="1400" b="1">
              <a:solidFill>
                <a:schemeClr val="bg1"/>
              </a:solidFill>
              <a:latin typeface="Arial"/>
              <a:cs typeface="Arial"/>
            </a:endParaRPr>
          </a:p>
          <a:p>
            <a:pPr marL="0" lvl="1">
              <a:lnSpc>
                <a:spcPts val="1160"/>
              </a:lnSpc>
              <a:spcBef>
                <a:spcPts val="300"/>
              </a:spcBef>
              <a:spcAft>
                <a:spcPts val="700"/>
              </a:spcAft>
              <a:buClr>
                <a:schemeClr val="bg1"/>
              </a:buClr>
              <a:buSzPct val="100000"/>
              <a:defRPr/>
            </a:pPr>
            <a:r>
              <a:rPr lang="en-US" sz="1000" b="1">
                <a:solidFill>
                  <a:schemeClr val="bg1"/>
                </a:solidFill>
                <a:latin typeface="Arial"/>
                <a:cs typeface="Arial"/>
              </a:rPr>
              <a:t>2024</a:t>
            </a:r>
            <a:br>
              <a:rPr lang="en-US" sz="1000" b="1">
                <a:solidFill>
                  <a:schemeClr val="bg1"/>
                </a:solidFill>
                <a:latin typeface="Arial"/>
                <a:cs typeface="Arial"/>
              </a:rPr>
            </a:br>
            <a:r>
              <a:rPr lang="en-US" sz="1000" b="1">
                <a:solidFill>
                  <a:schemeClr val="bg1"/>
                </a:solidFill>
                <a:latin typeface="Arial"/>
                <a:cs typeface="Arial"/>
              </a:rPr>
              <a:t>- </a:t>
            </a:r>
            <a:r>
              <a:rPr lang="en-US" sz="1000" b="1" err="1">
                <a:solidFill>
                  <a:schemeClr val="bg1"/>
                </a:solidFill>
                <a:latin typeface="Arial"/>
                <a:cs typeface="Arial"/>
              </a:rPr>
              <a:t>Vertragsunterschrift</a:t>
            </a:r>
            <a:r>
              <a:rPr lang="en-US" sz="1000" b="1">
                <a:solidFill>
                  <a:schemeClr val="bg1"/>
                </a:solidFill>
                <a:latin typeface="Arial"/>
                <a:cs typeface="Arial"/>
              </a:rPr>
              <a:t> </a:t>
            </a:r>
            <a:r>
              <a:rPr lang="en-US" sz="1000" b="1" err="1">
                <a:solidFill>
                  <a:schemeClr val="bg1"/>
                </a:solidFill>
                <a:latin typeface="Arial"/>
                <a:cs typeface="Arial"/>
              </a:rPr>
              <a:t>mit</a:t>
            </a:r>
            <a:r>
              <a:rPr lang="en-US" sz="1000" b="1">
                <a:solidFill>
                  <a:schemeClr val="bg1"/>
                </a:solidFill>
                <a:latin typeface="Arial"/>
                <a:cs typeface="Arial"/>
              </a:rPr>
              <a:t> </a:t>
            </a:r>
            <a:r>
              <a:rPr lang="en-US" sz="1000" b="1" err="1">
                <a:solidFill>
                  <a:schemeClr val="bg1"/>
                </a:solidFill>
                <a:latin typeface="Arial"/>
                <a:cs typeface="Arial"/>
              </a:rPr>
              <a:t>Dienstleistern</a:t>
            </a:r>
            <a:r>
              <a:rPr lang="en-US" sz="1000" b="1">
                <a:solidFill>
                  <a:schemeClr val="bg1"/>
                </a:solidFill>
                <a:latin typeface="Arial"/>
                <a:cs typeface="Arial"/>
              </a:rPr>
              <a:t> und </a:t>
            </a:r>
            <a:r>
              <a:rPr lang="en-US" sz="1000" b="1" err="1">
                <a:solidFill>
                  <a:schemeClr val="bg1"/>
                </a:solidFill>
                <a:latin typeface="Arial"/>
                <a:cs typeface="Arial"/>
              </a:rPr>
              <a:t>Lieferanten</a:t>
            </a:r>
            <a:br>
              <a:rPr lang="en-US" sz="1000" b="1">
                <a:solidFill>
                  <a:schemeClr val="bg1"/>
                </a:solidFill>
                <a:latin typeface="Arial"/>
                <a:cs typeface="Arial"/>
              </a:rPr>
            </a:br>
            <a:r>
              <a:rPr lang="en-US" sz="1000" b="1">
                <a:solidFill>
                  <a:schemeClr val="bg1"/>
                </a:solidFill>
                <a:latin typeface="Arial"/>
                <a:cs typeface="Arial"/>
              </a:rPr>
              <a:t>- </a:t>
            </a:r>
            <a:r>
              <a:rPr lang="en-US" sz="1000" b="1" err="1">
                <a:solidFill>
                  <a:schemeClr val="bg1"/>
                </a:solidFill>
                <a:latin typeface="Arial"/>
                <a:cs typeface="Arial"/>
              </a:rPr>
              <a:t>Beginn</a:t>
            </a:r>
            <a:r>
              <a:rPr lang="en-US" sz="1000" b="1">
                <a:solidFill>
                  <a:schemeClr val="bg1"/>
                </a:solidFill>
                <a:latin typeface="Arial"/>
                <a:cs typeface="Arial"/>
              </a:rPr>
              <a:t> der </a:t>
            </a:r>
            <a:r>
              <a:rPr lang="en-US" sz="1000" b="1" err="1">
                <a:solidFill>
                  <a:schemeClr val="bg1"/>
                </a:solidFill>
                <a:latin typeface="Arial"/>
                <a:cs typeface="Arial"/>
              </a:rPr>
              <a:t>Bauarbeiten</a:t>
            </a:r>
            <a:r>
              <a:rPr lang="en-US" sz="1000" b="1">
                <a:solidFill>
                  <a:schemeClr val="bg1"/>
                </a:solidFill>
                <a:latin typeface="Arial"/>
                <a:cs typeface="Arial"/>
              </a:rPr>
              <a:t> (</a:t>
            </a:r>
            <a:r>
              <a:rPr lang="en-US" sz="1000" b="1" err="1">
                <a:solidFill>
                  <a:schemeClr val="bg1"/>
                </a:solidFill>
                <a:latin typeface="Arial"/>
                <a:cs typeface="Arial"/>
              </a:rPr>
              <a:t>Oberbecken</a:t>
            </a:r>
            <a:r>
              <a:rPr lang="en-US" sz="1000" b="1">
                <a:solidFill>
                  <a:schemeClr val="bg1"/>
                </a:solidFill>
                <a:latin typeface="Arial"/>
                <a:cs typeface="Arial"/>
              </a:rPr>
              <a:t> und </a:t>
            </a:r>
            <a:r>
              <a:rPr lang="en-US" sz="1000" b="1" err="1">
                <a:solidFill>
                  <a:schemeClr val="bg1"/>
                </a:solidFill>
                <a:latin typeface="Arial"/>
                <a:cs typeface="Arial"/>
              </a:rPr>
              <a:t>Krafthaus</a:t>
            </a:r>
            <a:r>
              <a:rPr lang="en-US" sz="1000" b="1">
                <a:solidFill>
                  <a:schemeClr val="bg1"/>
                </a:solidFill>
                <a:latin typeface="Arial"/>
                <a:cs typeface="Arial"/>
              </a:rPr>
              <a:t>)</a:t>
            </a:r>
            <a:br>
              <a:rPr lang="en-US" sz="1000" b="1">
                <a:solidFill>
                  <a:schemeClr val="bg1"/>
                </a:solidFill>
                <a:latin typeface="Arial"/>
                <a:cs typeface="Arial"/>
              </a:rPr>
            </a:br>
            <a:br>
              <a:rPr lang="en-US" sz="1000" b="1">
                <a:solidFill>
                  <a:schemeClr val="bg1"/>
                </a:solidFill>
                <a:latin typeface="Arial"/>
                <a:cs typeface="Arial"/>
              </a:rPr>
            </a:br>
            <a:r>
              <a:rPr lang="en-US" sz="1000" b="1">
                <a:solidFill>
                  <a:schemeClr val="bg1"/>
                </a:solidFill>
                <a:latin typeface="Arial"/>
                <a:cs typeface="Arial"/>
              </a:rPr>
              <a:t>2027 </a:t>
            </a:r>
            <a:br>
              <a:rPr lang="en-US" sz="1000" b="1">
                <a:solidFill>
                  <a:schemeClr val="bg1"/>
                </a:solidFill>
                <a:latin typeface="Arial"/>
                <a:cs typeface="Arial"/>
              </a:rPr>
            </a:br>
            <a:r>
              <a:rPr lang="en-US" sz="1000" b="1">
                <a:solidFill>
                  <a:schemeClr val="bg1"/>
                </a:solidFill>
                <a:latin typeface="Arial"/>
                <a:cs typeface="Arial"/>
              </a:rPr>
              <a:t>- </a:t>
            </a:r>
            <a:r>
              <a:rPr lang="en-US" sz="1000" b="1" err="1">
                <a:solidFill>
                  <a:schemeClr val="bg1"/>
                </a:solidFill>
                <a:latin typeface="Arial"/>
                <a:cs typeface="Arial"/>
              </a:rPr>
              <a:t>Abschluss</a:t>
            </a:r>
            <a:r>
              <a:rPr lang="en-US" sz="1000" b="1">
                <a:solidFill>
                  <a:schemeClr val="bg1"/>
                </a:solidFill>
                <a:latin typeface="Arial"/>
                <a:cs typeface="Arial"/>
              </a:rPr>
              <a:t> Montage </a:t>
            </a:r>
            <a:r>
              <a:rPr lang="en-US" sz="1000" b="1" err="1">
                <a:solidFill>
                  <a:schemeClr val="bg1"/>
                </a:solidFill>
                <a:latin typeface="Arial"/>
                <a:cs typeface="Arial"/>
              </a:rPr>
              <a:t>Pumpspeichersätze</a:t>
            </a:r>
            <a:br>
              <a:rPr lang="en-US" b="1">
                <a:solidFill>
                  <a:schemeClr val="bg1"/>
                </a:solidFill>
                <a:latin typeface="Arial"/>
                <a:cs typeface="Arial"/>
              </a:rPr>
            </a:br>
            <a:r>
              <a:rPr lang="en-US" sz="1000" b="1">
                <a:solidFill>
                  <a:schemeClr val="bg1"/>
                </a:solidFill>
                <a:latin typeface="Arial"/>
                <a:cs typeface="Arial"/>
              </a:rPr>
              <a:t>- </a:t>
            </a:r>
            <a:r>
              <a:rPr lang="en-US" sz="1000" b="1" err="1">
                <a:solidFill>
                  <a:schemeClr val="bg1"/>
                </a:solidFill>
                <a:latin typeface="Arial"/>
                <a:cs typeface="Arial"/>
              </a:rPr>
              <a:t>Abschluss</a:t>
            </a:r>
            <a:r>
              <a:rPr lang="en-US" sz="1000" b="1">
                <a:solidFill>
                  <a:schemeClr val="bg1"/>
                </a:solidFill>
                <a:latin typeface="Arial"/>
                <a:cs typeface="Arial"/>
              </a:rPr>
              <a:t> der </a:t>
            </a:r>
            <a:r>
              <a:rPr lang="en-US" sz="1000" b="1" err="1">
                <a:solidFill>
                  <a:schemeClr val="bg1"/>
                </a:solidFill>
                <a:latin typeface="Arial"/>
                <a:cs typeface="Arial"/>
              </a:rPr>
              <a:t>Baumaßnahmen</a:t>
            </a:r>
            <a:r>
              <a:rPr lang="en-US" sz="1000" b="1">
                <a:solidFill>
                  <a:schemeClr val="bg1"/>
                </a:solidFill>
                <a:latin typeface="Arial"/>
                <a:cs typeface="Arial"/>
              </a:rPr>
              <a:t> am </a:t>
            </a:r>
            <a:r>
              <a:rPr lang="en-US" sz="1000" b="1" err="1">
                <a:solidFill>
                  <a:schemeClr val="bg1"/>
                </a:solidFill>
                <a:latin typeface="Arial"/>
                <a:cs typeface="Arial"/>
              </a:rPr>
              <a:t>Oberbecken</a:t>
            </a:r>
            <a:br>
              <a:rPr lang="en-US" sz="1000" b="1">
                <a:solidFill>
                  <a:schemeClr val="bg1"/>
                </a:solidFill>
                <a:latin typeface="Arial"/>
                <a:cs typeface="Arial"/>
              </a:rPr>
            </a:br>
            <a:r>
              <a:rPr lang="en-US" sz="1000" b="1">
                <a:solidFill>
                  <a:schemeClr val="bg1"/>
                </a:solidFill>
                <a:latin typeface="Arial"/>
                <a:cs typeface="Arial"/>
              </a:rPr>
              <a:t>- </a:t>
            </a:r>
            <a:r>
              <a:rPr lang="en-US" sz="1000" b="1" err="1">
                <a:solidFill>
                  <a:schemeClr val="bg1"/>
                </a:solidFill>
                <a:latin typeface="Arial"/>
                <a:cs typeface="Arial"/>
              </a:rPr>
              <a:t>Bereitschaft</a:t>
            </a:r>
            <a:r>
              <a:rPr lang="en-US" sz="1000" b="1">
                <a:solidFill>
                  <a:schemeClr val="bg1"/>
                </a:solidFill>
                <a:latin typeface="Arial"/>
                <a:cs typeface="Arial"/>
              </a:rPr>
              <a:t> für </a:t>
            </a:r>
            <a:r>
              <a:rPr lang="en-US" sz="1000" b="1" err="1">
                <a:solidFill>
                  <a:schemeClr val="bg1"/>
                </a:solidFill>
                <a:latin typeface="Arial"/>
                <a:cs typeface="Arial"/>
              </a:rPr>
              <a:t>Inbetriebsetzung</a:t>
            </a:r>
            <a:endParaRPr lang="en-US" sz="1000" b="1">
              <a:solidFill>
                <a:schemeClr val="bg1"/>
              </a:solidFill>
              <a:latin typeface="Arial"/>
              <a:cs typeface="Arial"/>
            </a:endParaRPr>
          </a:p>
          <a:p>
            <a:pPr marL="0" lvl="1">
              <a:lnSpc>
                <a:spcPts val="1160"/>
              </a:lnSpc>
              <a:spcBef>
                <a:spcPts val="300"/>
              </a:spcBef>
              <a:spcAft>
                <a:spcPts val="700"/>
              </a:spcAft>
              <a:buClr>
                <a:schemeClr val="bg1"/>
              </a:buClr>
              <a:buSzPct val="100000"/>
              <a:defRPr/>
            </a:pPr>
            <a:r>
              <a:rPr lang="en-US" sz="1000" b="1">
                <a:solidFill>
                  <a:schemeClr val="bg1"/>
                </a:solidFill>
                <a:latin typeface="Arial"/>
                <a:cs typeface="Arial"/>
              </a:rPr>
              <a:t>2028</a:t>
            </a:r>
            <a:br>
              <a:rPr lang="en-US" sz="1000" b="1">
                <a:solidFill>
                  <a:schemeClr val="bg1"/>
                </a:solidFill>
                <a:latin typeface="Arial"/>
                <a:cs typeface="Arial"/>
              </a:rPr>
            </a:br>
            <a:r>
              <a:rPr lang="en-US" sz="1000" b="1">
                <a:solidFill>
                  <a:schemeClr val="bg1"/>
                </a:solidFill>
                <a:latin typeface="Arial"/>
                <a:cs typeface="Arial"/>
              </a:rPr>
              <a:t>- </a:t>
            </a:r>
            <a:r>
              <a:rPr lang="en-US" sz="1000" b="1" err="1">
                <a:solidFill>
                  <a:schemeClr val="bg1"/>
                </a:solidFill>
                <a:latin typeface="Arial"/>
                <a:cs typeface="Arial"/>
              </a:rPr>
              <a:t>Erster</a:t>
            </a:r>
            <a:r>
              <a:rPr lang="en-US" sz="1000" b="1">
                <a:solidFill>
                  <a:schemeClr val="bg1"/>
                </a:solidFill>
                <a:latin typeface="Arial"/>
                <a:cs typeface="Arial"/>
              </a:rPr>
              <a:t> </a:t>
            </a:r>
            <a:r>
              <a:rPr lang="en-US" sz="1000" b="1" err="1">
                <a:solidFill>
                  <a:schemeClr val="bg1"/>
                </a:solidFill>
                <a:latin typeface="Arial"/>
                <a:cs typeface="Arial"/>
              </a:rPr>
              <a:t>Probestau</a:t>
            </a:r>
            <a:r>
              <a:rPr lang="en-US" sz="1000" b="1">
                <a:solidFill>
                  <a:schemeClr val="bg1"/>
                </a:solidFill>
                <a:latin typeface="Arial"/>
                <a:cs typeface="Arial"/>
              </a:rPr>
              <a:t> des </a:t>
            </a:r>
            <a:r>
              <a:rPr lang="en-US" sz="1000" b="1" err="1">
                <a:solidFill>
                  <a:schemeClr val="bg1"/>
                </a:solidFill>
                <a:latin typeface="Arial"/>
                <a:cs typeface="Arial"/>
              </a:rPr>
              <a:t>Oberbeckens</a:t>
            </a:r>
            <a:br>
              <a:rPr lang="en-US" sz="1000" b="1">
                <a:solidFill>
                  <a:schemeClr val="bg1"/>
                </a:solidFill>
                <a:latin typeface="Arial"/>
                <a:cs typeface="Arial"/>
              </a:rPr>
            </a:br>
            <a:r>
              <a:rPr lang="en-US" sz="1000" b="1">
                <a:solidFill>
                  <a:schemeClr val="bg1"/>
                </a:solidFill>
                <a:latin typeface="Arial"/>
                <a:cs typeface="Arial"/>
              </a:rPr>
              <a:t>- </a:t>
            </a:r>
            <a:r>
              <a:rPr lang="en-US" sz="1000" b="1" err="1">
                <a:solidFill>
                  <a:schemeClr val="bg1"/>
                </a:solidFill>
                <a:latin typeface="Arial"/>
                <a:cs typeface="Arial"/>
              </a:rPr>
              <a:t>Inbetriebsetzung</a:t>
            </a:r>
            <a:r>
              <a:rPr lang="en-US" sz="1000" b="1">
                <a:solidFill>
                  <a:schemeClr val="bg1"/>
                </a:solidFill>
                <a:latin typeface="Arial"/>
                <a:cs typeface="Arial"/>
              </a:rPr>
              <a:t> der vier </a:t>
            </a:r>
            <a:r>
              <a:rPr lang="en-US" sz="1000" b="1" err="1">
                <a:solidFill>
                  <a:schemeClr val="bg1"/>
                </a:solidFill>
                <a:latin typeface="Arial"/>
                <a:cs typeface="Arial"/>
              </a:rPr>
              <a:t>Pumpspeichersätze</a:t>
            </a:r>
            <a:br>
              <a:rPr lang="en-US" sz="1000" b="1">
                <a:solidFill>
                  <a:schemeClr val="bg1"/>
                </a:solidFill>
                <a:latin typeface="Arial"/>
                <a:cs typeface="Arial"/>
              </a:rPr>
            </a:br>
            <a:r>
              <a:rPr lang="en-US" sz="1000" b="1">
                <a:solidFill>
                  <a:schemeClr val="bg1"/>
                </a:solidFill>
                <a:latin typeface="Arial"/>
                <a:cs typeface="Arial"/>
              </a:rPr>
              <a:t>- </a:t>
            </a:r>
            <a:r>
              <a:rPr lang="en-US" sz="1000" b="1" err="1">
                <a:solidFill>
                  <a:schemeClr val="bg1"/>
                </a:solidFill>
                <a:latin typeface="Arial"/>
                <a:cs typeface="Arial"/>
              </a:rPr>
              <a:t>Beginn</a:t>
            </a:r>
            <a:r>
              <a:rPr lang="en-US" sz="1000" b="1">
                <a:solidFill>
                  <a:schemeClr val="bg1"/>
                </a:solidFill>
                <a:latin typeface="Arial"/>
                <a:cs typeface="Arial"/>
              </a:rPr>
              <a:t> des </a:t>
            </a:r>
            <a:r>
              <a:rPr lang="en-US" sz="1000" b="1" err="1">
                <a:solidFill>
                  <a:schemeClr val="bg1"/>
                </a:solidFill>
                <a:latin typeface="Arial"/>
                <a:cs typeface="Arial"/>
              </a:rPr>
              <a:t>Regelbetriebes</a:t>
            </a:r>
            <a:endParaRPr lang="en-US" sz="1000" b="1">
              <a:solidFill>
                <a:schemeClr val="bg1"/>
              </a:solidFill>
              <a:latin typeface="Arial"/>
              <a:cs typeface="Arial"/>
            </a:endParaRPr>
          </a:p>
        </p:txBody>
      </p:sp>
      <p:cxnSp>
        <p:nvCxnSpPr>
          <p:cNvPr id="11" name="Straight Connector 4">
            <a:extLst>
              <a:ext uri="{FF2B5EF4-FFF2-40B4-BE49-F238E27FC236}">
                <a16:creationId xmlns:a16="http://schemas.microsoft.com/office/drawing/2014/main" id="{65F166E7-A14F-BC07-503B-E0349DF06F8E}"/>
              </a:ext>
            </a:extLst>
          </p:cNvPr>
          <p:cNvCxnSpPr>
            <a:cxnSpLocks/>
          </p:cNvCxnSpPr>
          <p:nvPr/>
        </p:nvCxnSpPr>
        <p:spPr>
          <a:xfrm>
            <a:off x="4607265" y="1659092"/>
            <a:ext cx="4067175" cy="2381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5">
            <a:extLst>
              <a:ext uri="{FF2B5EF4-FFF2-40B4-BE49-F238E27FC236}">
                <a16:creationId xmlns:a16="http://schemas.microsoft.com/office/drawing/2014/main" id="{11D228B6-01F0-320B-6629-4946DB44C289}"/>
              </a:ext>
            </a:extLst>
          </p:cNvPr>
          <p:cNvCxnSpPr>
            <a:cxnSpLocks/>
          </p:cNvCxnSpPr>
          <p:nvPr/>
        </p:nvCxnSpPr>
        <p:spPr>
          <a:xfrm>
            <a:off x="4607265" y="2269465"/>
            <a:ext cx="4067175" cy="22225"/>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table">
            <a:extLst>
              <a:ext uri="{FF2B5EF4-FFF2-40B4-BE49-F238E27FC236}">
                <a16:creationId xmlns:a16="http://schemas.microsoft.com/office/drawing/2014/main" id="{EED9AFAB-2DA4-96C5-3748-0AB04582E15A}"/>
              </a:ext>
            </a:extLst>
          </p:cNvPr>
          <p:cNvPicPr>
            <a:picLocks noChangeAspect="1"/>
          </p:cNvPicPr>
          <p:nvPr/>
        </p:nvPicPr>
        <p:blipFill>
          <a:blip r:embed="rId2"/>
          <a:stretch>
            <a:fillRect/>
          </a:stretch>
        </p:blipFill>
        <p:spPr>
          <a:xfrm>
            <a:off x="4621911" y="913705"/>
            <a:ext cx="4071240" cy="522221"/>
          </a:xfrm>
          <a:prstGeom prst="rect">
            <a:avLst/>
          </a:prstGeom>
        </p:spPr>
      </p:pic>
      <p:sp>
        <p:nvSpPr>
          <p:cNvPr id="15" name="Freeform 5">
            <a:extLst>
              <a:ext uri="{FF2B5EF4-FFF2-40B4-BE49-F238E27FC236}">
                <a16:creationId xmlns:a16="http://schemas.microsoft.com/office/drawing/2014/main" id="{45E125D4-163E-B81D-C12D-8E6461151E1A}"/>
              </a:ext>
            </a:extLst>
          </p:cNvPr>
          <p:cNvSpPr>
            <a:spLocks noChangeArrowheads="1"/>
          </p:cNvSpPr>
          <p:nvPr/>
        </p:nvSpPr>
        <p:spPr bwMode="auto">
          <a:xfrm>
            <a:off x="5050670" y="1218780"/>
            <a:ext cx="912873" cy="114300"/>
          </a:xfrm>
          <a:prstGeom prst="rect">
            <a:avLst/>
          </a:prstGeom>
          <a:solidFill>
            <a:srgbClr val="B5D45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ctr">
              <a:lnSpc>
                <a:spcPts val="1600"/>
              </a:lnSpc>
            </a:pPr>
            <a:endParaRPr lang="en-US" altLang="en-US" sz="2000" b="1">
              <a:solidFill>
                <a:srgbClr val="FFFFFF"/>
              </a:solidFill>
              <a:cs typeface="Arial"/>
            </a:endParaRPr>
          </a:p>
          <a:p>
            <a:pPr algn="ctr" eaLnBrk="1" hangingPunct="1">
              <a:lnSpc>
                <a:spcPts val="1600"/>
              </a:lnSpc>
            </a:pPr>
            <a:endParaRPr lang="en-US" altLang="en-US" sz="2000" b="1">
              <a:solidFill>
                <a:srgbClr val="FFFFFF"/>
              </a:solidFill>
              <a:cs typeface="Arial" panose="020B0604020202020204" pitchFamily="34" charset="0"/>
            </a:endParaRPr>
          </a:p>
        </p:txBody>
      </p:sp>
      <p:sp>
        <p:nvSpPr>
          <p:cNvPr id="16" name="Freeform 5">
            <a:extLst>
              <a:ext uri="{FF2B5EF4-FFF2-40B4-BE49-F238E27FC236}">
                <a16:creationId xmlns:a16="http://schemas.microsoft.com/office/drawing/2014/main" id="{068602A3-D278-6591-1C39-6C18FB771F09}"/>
              </a:ext>
            </a:extLst>
          </p:cNvPr>
          <p:cNvSpPr>
            <a:spLocks noChangeArrowheads="1"/>
          </p:cNvSpPr>
          <p:nvPr/>
        </p:nvSpPr>
        <p:spPr bwMode="auto">
          <a:xfrm>
            <a:off x="5962442" y="1220367"/>
            <a:ext cx="914461" cy="114300"/>
          </a:xfrm>
          <a:prstGeom prst="rect">
            <a:avLst/>
          </a:prstGeom>
          <a:solidFill>
            <a:srgbClr val="A1BD3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ctr" eaLnBrk="1" hangingPunct="1">
              <a:lnSpc>
                <a:spcPts val="1600"/>
              </a:lnSpc>
            </a:pPr>
            <a:endParaRPr lang="en-US" altLang="en-US" sz="2000" b="1">
              <a:solidFill>
                <a:srgbClr val="FFFFFF"/>
              </a:solidFill>
            </a:endParaRPr>
          </a:p>
          <a:p>
            <a:pPr algn="ctr" eaLnBrk="1" hangingPunct="1">
              <a:lnSpc>
                <a:spcPts val="1600"/>
              </a:lnSpc>
            </a:pPr>
            <a:endParaRPr lang="en-US" altLang="en-US" sz="2000" b="1">
              <a:solidFill>
                <a:srgbClr val="FFFFFF"/>
              </a:solidFill>
              <a:cs typeface="Arial" panose="020B0604020202020204" pitchFamily="34" charset="0"/>
            </a:endParaRPr>
          </a:p>
        </p:txBody>
      </p:sp>
      <p:sp>
        <p:nvSpPr>
          <p:cNvPr id="17" name="Freeform 5">
            <a:extLst>
              <a:ext uri="{FF2B5EF4-FFF2-40B4-BE49-F238E27FC236}">
                <a16:creationId xmlns:a16="http://schemas.microsoft.com/office/drawing/2014/main" id="{B1F445B3-6037-649B-B3C9-DFC38CD00B7C}"/>
              </a:ext>
            </a:extLst>
          </p:cNvPr>
          <p:cNvSpPr>
            <a:spLocks noChangeArrowheads="1"/>
          </p:cNvSpPr>
          <p:nvPr/>
        </p:nvSpPr>
        <p:spPr bwMode="auto">
          <a:xfrm>
            <a:off x="6861789" y="1217192"/>
            <a:ext cx="912873" cy="115888"/>
          </a:xfrm>
          <a:prstGeom prst="rect">
            <a:avLst/>
          </a:prstGeom>
          <a:solidFill>
            <a:srgbClr val="69AB4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ctr" eaLnBrk="1" hangingPunct="1">
              <a:lnSpc>
                <a:spcPts val="1600"/>
              </a:lnSpc>
            </a:pPr>
            <a:endParaRPr lang="en-US" altLang="en-US" sz="2000" b="1">
              <a:solidFill>
                <a:srgbClr val="FFFFFF"/>
              </a:solidFill>
            </a:endParaRPr>
          </a:p>
          <a:p>
            <a:pPr algn="ctr" eaLnBrk="1" hangingPunct="1">
              <a:lnSpc>
                <a:spcPts val="1600"/>
              </a:lnSpc>
            </a:pPr>
            <a:endParaRPr lang="en-US" altLang="en-US" sz="2000" b="1">
              <a:solidFill>
                <a:srgbClr val="FFFFFF"/>
              </a:solidFill>
              <a:cs typeface="Arial" panose="020B0604020202020204" pitchFamily="34" charset="0"/>
            </a:endParaRPr>
          </a:p>
        </p:txBody>
      </p:sp>
      <p:sp>
        <p:nvSpPr>
          <p:cNvPr id="18" name="Freeform 5">
            <a:extLst>
              <a:ext uri="{FF2B5EF4-FFF2-40B4-BE49-F238E27FC236}">
                <a16:creationId xmlns:a16="http://schemas.microsoft.com/office/drawing/2014/main" id="{F1C00BB1-2D17-7127-3F7B-08A1D02D6276}"/>
              </a:ext>
            </a:extLst>
          </p:cNvPr>
          <p:cNvSpPr>
            <a:spLocks noChangeArrowheads="1"/>
          </p:cNvSpPr>
          <p:nvPr/>
        </p:nvSpPr>
        <p:spPr bwMode="auto">
          <a:xfrm>
            <a:off x="7755387" y="1220367"/>
            <a:ext cx="912923" cy="114300"/>
          </a:xfrm>
          <a:prstGeom prst="rect">
            <a:avLst/>
          </a:prstGeom>
          <a:solidFill>
            <a:srgbClr val="00944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ctr" eaLnBrk="1" hangingPunct="1">
              <a:lnSpc>
                <a:spcPts val="1600"/>
              </a:lnSpc>
            </a:pPr>
            <a:endParaRPr lang="en-US" altLang="en-US" sz="2000" b="1">
              <a:solidFill>
                <a:srgbClr val="FFFFFF"/>
              </a:solidFill>
            </a:endParaRPr>
          </a:p>
          <a:p>
            <a:pPr algn="ctr" eaLnBrk="1" hangingPunct="1">
              <a:lnSpc>
                <a:spcPts val="1600"/>
              </a:lnSpc>
            </a:pPr>
            <a:endParaRPr lang="en-US" altLang="en-US" sz="2000" b="1">
              <a:solidFill>
                <a:srgbClr val="FFFFFF"/>
              </a:solidFill>
              <a:cs typeface="Arial" panose="020B0604020202020204" pitchFamily="34" charset="0"/>
            </a:endParaRPr>
          </a:p>
        </p:txBody>
      </p:sp>
      <p:sp>
        <p:nvSpPr>
          <p:cNvPr id="19" name="Freeform 5">
            <a:extLst>
              <a:ext uri="{FF2B5EF4-FFF2-40B4-BE49-F238E27FC236}">
                <a16:creationId xmlns:a16="http://schemas.microsoft.com/office/drawing/2014/main" id="{54140821-F70E-7801-354E-10F4C300B1BE}"/>
              </a:ext>
            </a:extLst>
          </p:cNvPr>
          <p:cNvSpPr>
            <a:spLocks noChangeArrowheads="1"/>
          </p:cNvSpPr>
          <p:nvPr/>
        </p:nvSpPr>
        <p:spPr bwMode="auto">
          <a:xfrm>
            <a:off x="4607265" y="1218779"/>
            <a:ext cx="458630" cy="114300"/>
          </a:xfrm>
          <a:prstGeom prst="rect">
            <a:avLst/>
          </a:prstGeom>
          <a:solidFill>
            <a:srgbClr val="D6FA6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ctr">
              <a:lnSpc>
                <a:spcPts val="1600"/>
              </a:lnSpc>
            </a:pPr>
            <a:endParaRPr lang="en-US" altLang="en-US" sz="2000" b="1">
              <a:solidFill>
                <a:srgbClr val="FFFFFF"/>
              </a:solidFill>
              <a:cs typeface="Arial"/>
            </a:endParaRPr>
          </a:p>
          <a:p>
            <a:pPr algn="ctr" eaLnBrk="1" hangingPunct="1">
              <a:lnSpc>
                <a:spcPts val="1600"/>
              </a:lnSpc>
            </a:pPr>
            <a:endParaRPr lang="en-US" altLang="en-US" sz="2000" b="1">
              <a:solidFill>
                <a:srgbClr val="FFFFFF"/>
              </a:solidFill>
              <a:cs typeface="Arial" panose="020B0604020202020204" pitchFamily="34" charset="0"/>
            </a:endParaRPr>
          </a:p>
        </p:txBody>
      </p:sp>
      <p:cxnSp>
        <p:nvCxnSpPr>
          <p:cNvPr id="23" name="Straight Connector 4">
            <a:extLst>
              <a:ext uri="{FF2B5EF4-FFF2-40B4-BE49-F238E27FC236}">
                <a16:creationId xmlns:a16="http://schemas.microsoft.com/office/drawing/2014/main" id="{FDF8BAF4-8DA5-3309-0237-B6DF43B6C313}"/>
              </a:ext>
            </a:extLst>
          </p:cNvPr>
          <p:cNvCxnSpPr>
            <a:cxnSpLocks/>
          </p:cNvCxnSpPr>
          <p:nvPr/>
        </p:nvCxnSpPr>
        <p:spPr>
          <a:xfrm>
            <a:off x="4612191" y="3023001"/>
            <a:ext cx="4067175" cy="23813"/>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9BC5D761-007A-DE88-A094-BDBA4B2B0768}"/>
              </a:ext>
            </a:extLst>
          </p:cNvPr>
          <p:cNvSpPr/>
          <p:nvPr/>
        </p:nvSpPr>
        <p:spPr>
          <a:xfrm>
            <a:off x="3914065" y="1044001"/>
            <a:ext cx="81871" cy="3255938"/>
          </a:xfrm>
          <a:prstGeom prst="rect">
            <a:avLst/>
          </a:prstGeom>
          <a:solidFill>
            <a:srgbClr val="29527A"/>
          </a:solidFill>
          <a:ln>
            <a:solidFill>
              <a:srgbClr val="29527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Pfeil: nach rechts 30">
            <a:extLst>
              <a:ext uri="{FF2B5EF4-FFF2-40B4-BE49-F238E27FC236}">
                <a16:creationId xmlns:a16="http://schemas.microsoft.com/office/drawing/2014/main" id="{163DE3B4-EC53-E923-F9AA-D88BA2D4429D}"/>
              </a:ext>
            </a:extLst>
          </p:cNvPr>
          <p:cNvSpPr/>
          <p:nvPr/>
        </p:nvSpPr>
        <p:spPr>
          <a:xfrm>
            <a:off x="4172186" y="2427734"/>
            <a:ext cx="255798" cy="503386"/>
          </a:xfrm>
          <a:prstGeom prst="rightArrow">
            <a:avLst/>
          </a:prstGeom>
          <a:solidFill>
            <a:srgbClr val="29527A"/>
          </a:solidFill>
          <a:ln>
            <a:solidFill>
              <a:srgbClr val="29527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hteck: abgerundete Ecken 3">
            <a:extLst>
              <a:ext uri="{FF2B5EF4-FFF2-40B4-BE49-F238E27FC236}">
                <a16:creationId xmlns:a16="http://schemas.microsoft.com/office/drawing/2014/main" id="{58C66917-728F-46B3-192D-E9CDA1F22F0D}"/>
              </a:ext>
            </a:extLst>
          </p:cNvPr>
          <p:cNvSpPr/>
          <p:nvPr/>
        </p:nvSpPr>
        <p:spPr>
          <a:xfrm>
            <a:off x="1297793" y="4409530"/>
            <a:ext cx="7359167" cy="5760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kumimoji="0" lang="de-DE" sz="1600" b="0" i="0" u="none" kern="1200" baseline="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b="1">
                <a:solidFill>
                  <a:schemeClr val="tx1"/>
                </a:solidFill>
              </a:rPr>
              <a:t>Ziel: </a:t>
            </a:r>
            <a:r>
              <a:rPr lang="de-DE">
                <a:solidFill>
                  <a:schemeClr val="tx1"/>
                </a:solidFill>
              </a:rPr>
              <a:t>Sicherer Betrieb des Kraftwerks ab 2028 mit den in </a:t>
            </a:r>
            <a:br>
              <a:rPr lang="de-DE">
                <a:solidFill>
                  <a:schemeClr val="tx1"/>
                </a:solidFill>
              </a:rPr>
            </a:br>
            <a:r>
              <a:rPr lang="de-DE">
                <a:solidFill>
                  <a:schemeClr val="tx1"/>
                </a:solidFill>
              </a:rPr>
              <a:t>den Ausgangsbescheiden von 1957/59 genehmigten Stauzielen </a:t>
            </a:r>
          </a:p>
        </p:txBody>
      </p:sp>
    </p:spTree>
    <p:extLst>
      <p:ext uri="{BB962C8B-B14F-4D97-AF65-F5344CB8AC3E}">
        <p14:creationId xmlns:p14="http://schemas.microsoft.com/office/powerpoint/2010/main" val="462454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DA986A0-1D76-3170-101C-A9D49433EA12}"/>
              </a:ext>
            </a:extLst>
          </p:cNvPr>
          <p:cNvSpPr>
            <a:spLocks noGrp="1"/>
          </p:cNvSpPr>
          <p:nvPr>
            <p:ph type="sldNum" sz="quarter" idx="12"/>
          </p:nvPr>
        </p:nvSpPr>
        <p:spPr/>
        <p:txBody>
          <a:bodyPr/>
          <a:lstStyle/>
          <a:p>
            <a:fld id="{9D543ADB-E95E-4587-963D-D3C6AB2E96C0}" type="slidenum">
              <a:rPr lang="de-DE" smtClean="0"/>
              <a:pPr/>
              <a:t>7</a:t>
            </a:fld>
            <a:endParaRPr lang="de-DE"/>
          </a:p>
        </p:txBody>
      </p:sp>
      <p:sp>
        <p:nvSpPr>
          <p:cNvPr id="3" name="Titel 2">
            <a:extLst>
              <a:ext uri="{FF2B5EF4-FFF2-40B4-BE49-F238E27FC236}">
                <a16:creationId xmlns:a16="http://schemas.microsoft.com/office/drawing/2014/main" id="{C6D6CF45-BBB7-67E0-7029-5F1A599C0CEB}"/>
              </a:ext>
            </a:extLst>
          </p:cNvPr>
          <p:cNvSpPr>
            <a:spLocks noGrp="1"/>
          </p:cNvSpPr>
          <p:nvPr>
            <p:ph type="title"/>
          </p:nvPr>
        </p:nvSpPr>
        <p:spPr/>
        <p:txBody>
          <a:bodyPr/>
          <a:lstStyle/>
          <a:p>
            <a:r>
              <a:rPr lang="de-DE"/>
              <a:t>Wirtschaftliche Herausforderungen für die Errichtung und den Betrieb von Pumpspeicherwerken (PSW)</a:t>
            </a:r>
            <a:endParaRPr lang="en-DE"/>
          </a:p>
        </p:txBody>
      </p:sp>
      <p:sp>
        <p:nvSpPr>
          <p:cNvPr id="4" name="Inhaltsplatzhalter 3">
            <a:extLst>
              <a:ext uri="{FF2B5EF4-FFF2-40B4-BE49-F238E27FC236}">
                <a16:creationId xmlns:a16="http://schemas.microsoft.com/office/drawing/2014/main" id="{EC4AA8AA-7BB1-645F-B075-7B9D4A8725BE}"/>
              </a:ext>
            </a:extLst>
          </p:cNvPr>
          <p:cNvSpPr>
            <a:spLocks noGrp="1"/>
          </p:cNvSpPr>
          <p:nvPr>
            <p:ph sz="quarter" idx="13"/>
          </p:nvPr>
        </p:nvSpPr>
        <p:spPr>
          <a:xfrm>
            <a:off x="504000" y="1203598"/>
            <a:ext cx="8136000" cy="3098402"/>
          </a:xfrm>
        </p:spPr>
        <p:txBody>
          <a:bodyPr vert="horz" lIns="0" tIns="0" rIns="0" bIns="0" rtlCol="0" anchor="t">
            <a:noAutofit/>
          </a:bodyPr>
          <a:lstStyle/>
          <a:p>
            <a:pPr marL="207645" lvl="1">
              <a:buChar char=""/>
            </a:pPr>
            <a:r>
              <a:rPr lang="de-DE"/>
              <a:t>PSW werden als </a:t>
            </a:r>
            <a:r>
              <a:rPr lang="de-DE" b="1"/>
              <a:t>Letztverbraucher</a:t>
            </a:r>
            <a:r>
              <a:rPr lang="de-DE"/>
              <a:t> eingestuft. </a:t>
            </a:r>
          </a:p>
          <a:p>
            <a:pPr marL="207645" lvl="1">
              <a:buChar char=""/>
            </a:pPr>
            <a:r>
              <a:rPr lang="de-DE"/>
              <a:t>Das aktuelle EnWG beinhaltet </a:t>
            </a:r>
            <a:r>
              <a:rPr lang="de-DE" b="1"/>
              <a:t>keine </a:t>
            </a:r>
            <a:r>
              <a:rPr lang="de-DE"/>
              <a:t>Definition von PSW als </a:t>
            </a:r>
            <a:r>
              <a:rPr lang="de-DE" b="1"/>
              <a:t>Energiespeicher</a:t>
            </a:r>
            <a:r>
              <a:rPr lang="de-DE"/>
              <a:t> </a:t>
            </a:r>
            <a:endParaRPr lang="de-DE">
              <a:cs typeface="Arial"/>
            </a:endParaRPr>
          </a:p>
          <a:p>
            <a:pPr marL="207645" lvl="1">
              <a:buChar char=""/>
            </a:pPr>
            <a:r>
              <a:rPr lang="de-DE"/>
              <a:t>Daraus resultiert:</a:t>
            </a:r>
            <a:endParaRPr lang="de-DE">
              <a:cs typeface="Arial"/>
            </a:endParaRPr>
          </a:p>
          <a:p>
            <a:pPr lvl="3" indent="-201295">
              <a:buChar char=""/>
            </a:pPr>
            <a:r>
              <a:rPr lang="de-DE"/>
              <a:t>Durch die Einstufung als Letztverbraucher müssen PSW Abgaben wie z.B. Netzentgelte entrichten</a:t>
            </a:r>
            <a:endParaRPr lang="de-DE">
              <a:cs typeface="Arial"/>
            </a:endParaRPr>
          </a:p>
          <a:p>
            <a:pPr lvl="3" indent="-201295">
              <a:buChar char=""/>
            </a:pPr>
            <a:r>
              <a:rPr lang="de-DE"/>
              <a:t>Die besonderen Eigenschaften und Fähigkeiten  von PSW im Rahmen der Gewähr-leistung von Netzstabilität und Systemsicherheit werden gar nicht oder nicht marktgerecht vergütet</a:t>
            </a:r>
            <a:endParaRPr lang="en-DE">
              <a:cs typeface="Arial"/>
            </a:endParaRPr>
          </a:p>
        </p:txBody>
      </p:sp>
      <p:sp>
        <p:nvSpPr>
          <p:cNvPr id="6" name="Rechteck: abgerundete Ecken 5">
            <a:extLst>
              <a:ext uri="{FF2B5EF4-FFF2-40B4-BE49-F238E27FC236}">
                <a16:creationId xmlns:a16="http://schemas.microsoft.com/office/drawing/2014/main" id="{90C0C8D3-0241-FA2B-5045-86949FCD8743}"/>
              </a:ext>
            </a:extLst>
          </p:cNvPr>
          <p:cNvSpPr/>
          <p:nvPr/>
        </p:nvSpPr>
        <p:spPr>
          <a:xfrm>
            <a:off x="822691" y="3548837"/>
            <a:ext cx="8130347" cy="5760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de-DE"/>
            </a:defPPr>
            <a:lvl1pPr marL="0" algn="l" defTabSz="914400" rtl="0" eaLnBrk="1" latinLnBrk="0" hangingPunct="1">
              <a:defRPr kumimoji="0" lang="de-DE" sz="1600" b="0" i="0" u="none" kern="1200" baseline="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b="1">
                <a:solidFill>
                  <a:schemeClr val="tx1"/>
                </a:solidFill>
                <a:cs typeface="Arial"/>
              </a:rPr>
              <a:t>Diese Rahmenbedingungen gelten auch für das Pumpspeicherkraftwerk Happurg</a:t>
            </a:r>
          </a:p>
        </p:txBody>
      </p:sp>
    </p:spTree>
    <p:extLst>
      <p:ext uri="{BB962C8B-B14F-4D97-AF65-F5344CB8AC3E}">
        <p14:creationId xmlns:p14="http://schemas.microsoft.com/office/powerpoint/2010/main" val="11598874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xh6ICwEMXZNibWXqqztEGYFAAAAAAADAAAAAwADAAAAAQADAAEA////////BAAAAAMAEAALFMIoErfZoEmCvCF7Sfk5Pg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Bh6ICwEMXZNibWXqqztEGYDRGF0YQAbAAAABExpbmtlZFNoYXBlRGF0YQAFAAAAAAACTmFtZQAZAAAATGlua2VkU2hhcGVzRGF0YVByb3BlcnR5ABBWZXJzaW9uAAAAAAAJTGFzdFdyaXRlAMpZj/N/AQAAAAEA/////8YAxgAAAAVfaWQAEAAAAAQUwigSt9mgSYK8IXtJ+Tk+A0RhdGEAUwAAAAhQcmVzZW50YXRpb25TY2FubmVkRm9yTGlua2VkU2hhcGVzAAECTnVtYmVyRm9ybWF0U2VwYXJhdG9yTW9kZQAKAAAAQXV0b21hdGljAAACTmFtZQAkAAAATGlua2VkU2hhcGVQcmVzZW50YXRpb25TZXR0aW5nc0RhdGEAEFZlcnNpb24AAAAAAAlMYXN0V3JpdGUA6FmP8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BASIS" val="UniperVorlage"/>
  <p:tag name="VERSION" val="1.02"/>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EKGUID" val="0919754a-ac1a-4d4c-8366-c2936187a25a"/>
  <p:tag name="MIO_GUID" val="471c945d-b8fd-45d9-bc81-9323d7e48b5c"/>
  <p:tag name="MIO_UPDATE" val="True"/>
  <p:tag name="MIO_VERSION" val="10.06.2020 09:38:16"/>
  <p:tag name="MIO_DBID" val="0F45B44C-9BC7-4D85-81C4-7155EE70A7B9"/>
  <p:tag name="MIO_LASTDOWNLOADED" val="20.04.2022 17:01:16.331"/>
  <p:tag name="MIO_OBJECTNAME" val="Hydroelectric plant"/>
  <p:tag name="MIO_LASTEDITORNAME" val="Sinja Giese"/>
</p:tagLst>
</file>

<file path=ppt/tags/tag4.xml><?xml version="1.0" encoding="utf-8"?>
<p:tagLst xmlns:a="http://schemas.openxmlformats.org/drawingml/2006/main" xmlns:r="http://schemas.openxmlformats.org/officeDocument/2006/relationships" xmlns:p="http://schemas.openxmlformats.org/presentationml/2006/main">
  <p:tag name="MIO_EKGUID" val="66631306-e1f1-4de6-86ed-78ed67ba2555"/>
  <p:tag name="MIO_GUID" val="01923677-653a-4e9f-9eda-58f2e494cae7"/>
  <p:tag name="MIO_UPDATE" val="True"/>
  <p:tag name="MIO_VERSION" val="20.10.2020 07:50:01"/>
  <p:tag name="MIO_DBID" val="0F45B44C-9BC7-4D85-81C4-7155EE70A7B9"/>
  <p:tag name="MIO_LASTDOWNLOADED" val="29.11.2022 14:35:16.960"/>
  <p:tag name="MIO_OBJECTNAME" val="2_Footnote"/>
  <p:tag name="MIO_LASTEDITORNAME" val="Sharon Sassen"/>
</p:tagLst>
</file>

<file path=ppt/tags/tag5.xml><?xml version="1.0" encoding="utf-8"?>
<p:tagLst xmlns:a="http://schemas.openxmlformats.org/drawingml/2006/main" xmlns:r="http://schemas.openxmlformats.org/officeDocument/2006/relationships" xmlns:p="http://schemas.openxmlformats.org/presentationml/2006/main">
  <p:tag name="MIO_EKGUID" val="0919754a-ac1a-4d4c-8366-c2936187a25a"/>
  <p:tag name="MIO_GUID" val="471c945d-b8fd-45d9-bc81-9323d7e48b5c"/>
  <p:tag name="MIO_UPDATE" val="True"/>
  <p:tag name="MIO_VERSION" val="10.06.2020 09:38:16"/>
  <p:tag name="MIO_DBID" val="0F45B44C-9BC7-4D85-81C4-7155EE70A7B9"/>
  <p:tag name="MIO_LASTDOWNLOADED" val="20.04.2022 17:01:16.331"/>
  <p:tag name="MIO_OBJECTNAME" val="Hydroelectric plant"/>
  <p:tag name="MIO_LASTEDITORNAME" val="Sinja Giese"/>
</p:tagLst>
</file>

<file path=ppt/theme/theme1.xml><?xml version="1.0" encoding="utf-8"?>
<a:theme xmlns:a="http://schemas.openxmlformats.org/drawingml/2006/main" name="Uniper_16x9">
  <a:themeElements>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fontScheme name="Unip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600" dirty="0" err="1" smtClean="0"/>
        </a:defPPr>
      </a:lstStyle>
    </a:txDef>
  </a:objectDefaults>
  <a:extraClrSchemeLst>
    <a:extraClrScheme>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a">
        <a:dk1>
          <a:srgbClr val="5E5E5E"/>
        </a:dk1>
        <a:lt1>
          <a:srgbClr val="FFFFFF"/>
        </a:lt1>
        <a:dk2>
          <a:srgbClr val="0078DC"/>
        </a:dk2>
        <a:lt2>
          <a:srgbClr val="FFFFFF"/>
        </a:lt2>
        <a:accent1>
          <a:srgbClr val="C1E3FC"/>
        </a:accent1>
        <a:accent2>
          <a:srgbClr val="00A7F0"/>
        </a:accent2>
        <a:accent3>
          <a:srgbClr val="ED8C1C"/>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b">
        <a:dk1>
          <a:srgbClr val="5E5E5E"/>
        </a:dk1>
        <a:lt1>
          <a:srgbClr val="FFFFFF"/>
        </a:lt1>
        <a:dk2>
          <a:srgbClr val="0078DC"/>
        </a:dk2>
        <a:lt2>
          <a:srgbClr val="FFFFFF"/>
        </a:lt2>
        <a:accent1>
          <a:srgbClr val="C1E3FC"/>
        </a:accent1>
        <a:accent2>
          <a:srgbClr val="00A7F0"/>
        </a:accent2>
        <a:accent3>
          <a:srgbClr val="FFEA00"/>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c">
        <a:dk1>
          <a:srgbClr val="5E5E5E"/>
        </a:dk1>
        <a:lt1>
          <a:srgbClr val="FFFFFF"/>
        </a:lt1>
        <a:dk2>
          <a:srgbClr val="0078DC"/>
        </a:dk2>
        <a:lt2>
          <a:srgbClr val="FFFFFF"/>
        </a:lt2>
        <a:accent1>
          <a:srgbClr val="C1E3FC"/>
        </a:accent1>
        <a:accent2>
          <a:srgbClr val="00A7F0"/>
        </a:accent2>
        <a:accent3>
          <a:srgbClr val="B5D45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3">
        <a:dk1>
          <a:srgbClr val="5E5E5E"/>
        </a:dk1>
        <a:lt1>
          <a:srgbClr val="FFFFFF"/>
        </a:lt1>
        <a:dk2>
          <a:srgbClr val="0078DC"/>
        </a:dk2>
        <a:lt2>
          <a:srgbClr val="FFFFFF"/>
        </a:lt2>
        <a:accent1>
          <a:srgbClr val="C1E3FC"/>
        </a:accent1>
        <a:accent2>
          <a:srgbClr val="ED8C1C"/>
        </a:accent2>
        <a:accent3>
          <a:srgbClr val="5CBCF5"/>
        </a:accent3>
        <a:accent4>
          <a:srgbClr val="B5D45B"/>
        </a:accent4>
        <a:accent5>
          <a:srgbClr val="29527A"/>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4">
        <a:dk1>
          <a:srgbClr val="5E5E5E"/>
        </a:dk1>
        <a:lt1>
          <a:srgbClr val="FFFFFF"/>
        </a:lt1>
        <a:dk2>
          <a:srgbClr val="0078DC"/>
        </a:dk2>
        <a:lt2>
          <a:srgbClr val="FFFFFF"/>
        </a:lt2>
        <a:accent1>
          <a:srgbClr val="29527A"/>
        </a:accent1>
        <a:accent2>
          <a:srgbClr val="FFEA00"/>
        </a:accent2>
        <a:accent3>
          <a:srgbClr val="C1E3FC"/>
        </a:accent3>
        <a:accent4>
          <a:srgbClr val="B5D45B"/>
        </a:accent4>
        <a:accent5>
          <a:srgbClr val="ED8C1C"/>
        </a:accent5>
        <a:accent6>
          <a:srgbClr val="5CBCF5"/>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5">
        <a:dk1>
          <a:srgbClr val="5E5E5E"/>
        </a:dk1>
        <a:lt1>
          <a:srgbClr val="FFFFFF"/>
        </a:lt1>
        <a:dk2>
          <a:srgbClr val="0078DC"/>
        </a:dk2>
        <a:lt2>
          <a:srgbClr val="FFFFFF"/>
        </a:lt2>
        <a:accent1>
          <a:srgbClr val="E3D4BC"/>
        </a:accent1>
        <a:accent2>
          <a:srgbClr val="5CBCF5"/>
        </a:accent2>
        <a:accent3>
          <a:srgbClr val="5E5E5E"/>
        </a:accent3>
        <a:accent4>
          <a:srgbClr val="135B8B"/>
        </a:accent4>
        <a:accent5>
          <a:srgbClr val="B3B3B3"/>
        </a:accent5>
        <a:accent6>
          <a:srgbClr val="876C59"/>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6">
        <a:dk1>
          <a:srgbClr val="5E5E5E"/>
        </a:dk1>
        <a:lt1>
          <a:srgbClr val="FFFFFF"/>
        </a:lt1>
        <a:dk2>
          <a:srgbClr val="0078DC"/>
        </a:dk2>
        <a:lt2>
          <a:srgbClr val="FFFFFF"/>
        </a:lt2>
        <a:accent1>
          <a:srgbClr val="C1E3FC"/>
        </a:accent1>
        <a:accent2>
          <a:srgbClr val="0078DC"/>
        </a:accent2>
        <a:accent3>
          <a:srgbClr val="E3D4BC"/>
        </a:accent3>
        <a:accent4>
          <a:srgbClr val="876C59"/>
        </a:accent4>
        <a:accent5>
          <a:srgbClr val="5CBCF5"/>
        </a:accent5>
        <a:accent6>
          <a:srgbClr val="135B8B"/>
        </a:accent6>
        <a:hlink>
          <a:srgbClr val="B3B3B3"/>
        </a:hlink>
        <a:folHlink>
          <a:srgbClr val="5E5E5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52A38CE37CD434AA4D7A337334A8759" ma:contentTypeVersion="15" ma:contentTypeDescription="Create a new document." ma:contentTypeScope="" ma:versionID="d92d07c00b160e3316697fcc9ccfe419">
  <xsd:schema xmlns:xsd="http://www.w3.org/2001/XMLSchema" xmlns:xs="http://www.w3.org/2001/XMLSchema" xmlns:p="http://schemas.microsoft.com/office/2006/metadata/properties" xmlns:ns2="1b0515ba-4556-494f-b08e-9c2352218a81" xmlns:ns3="645cfabb-e759-4934-a5b4-04b1775a36e1" targetNamespace="http://schemas.microsoft.com/office/2006/metadata/properties" ma:root="true" ma:fieldsID="0bfea70551a605294fe71f6586bf3d80" ns2:_="" ns3:_="">
    <xsd:import namespace="1b0515ba-4556-494f-b08e-9c2352218a81"/>
    <xsd:import namespace="645cfabb-e759-4934-a5b4-04b1775a36e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0515ba-4556-494f-b08e-9c2352218a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0354813c-11b9-47e8-a31a-cbfea2ba9f6e"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45cfabb-e759-4934-a5b4-04b1775a36e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7d0ba639-bc07-4c48-a594-0f2e4e0e6d05}" ma:internalName="TaxCatchAll" ma:showField="CatchAllData" ma:web="645cfabb-e759-4934-a5b4-04b1775a36e1">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645cfabb-e759-4934-a5b4-04b1775a36e1" xsi:nil="true"/>
    <lcf76f155ced4ddcb4097134ff3c332f xmlns="1b0515ba-4556-494f-b08e-9c2352218a8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C8380F-768B-48A0-A61C-3A8E27066DE4}"/>
</file>

<file path=customXml/itemProps2.xml><?xml version="1.0" encoding="utf-8"?>
<ds:datastoreItem xmlns:ds="http://schemas.openxmlformats.org/officeDocument/2006/customXml" ds:itemID="{B88B05C1-7537-4BFA-A23F-D1166B80D730}">
  <ds:schemaRefs>
    <ds:schemaRef ds:uri="5206c53b-cf4d-4d54-9be3-1b1079497dc5"/>
    <ds:schemaRef ds:uri="bd6df7c1-734d-4d77-916a-ac47f37baa44"/>
    <ds:schemaRef ds:uri="e818abce-a7bf-4793-b0df-f26c875b565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F183C63-5BED-4359-9F3B-1FBC89240642}">
  <ds:schemaRefs>
    <ds:schemaRef ds:uri="http://schemas.microsoft.com/sharepoint/v3/contenttype/forms"/>
  </ds:schemaRefs>
</ds:datastoreItem>
</file>

<file path=docMetadata/LabelInfo.xml><?xml version="1.0" encoding="utf-8"?>
<clbl:labelList xmlns:clbl="http://schemas.microsoft.com/office/2020/mipLabelMetadata">
  <clbl:label id="{db8e2f82-8a37-4c09-b7de-ed06547b5a20}" enabled="0" method="" siteId="{db8e2f82-8a37-4c09-b7de-ed06547b5a20}" removed="1"/>
</clbl:labelList>
</file>

<file path=docProps/app.xml><?xml version="1.0" encoding="utf-8"?>
<Properties xmlns="http://schemas.openxmlformats.org/officeDocument/2006/extended-properties" xmlns:vt="http://schemas.openxmlformats.org/officeDocument/2006/docPropsVTypes">
  <Template>Uniper_16x9</Template>
  <TotalTime>0</TotalTime>
  <Words>709</Words>
  <Application>Microsoft Office PowerPoint</Application>
  <PresentationFormat>Bildschirmpräsentation (16:9)</PresentationFormat>
  <Paragraphs>90</Paragraphs>
  <Slides>7</Slides>
  <Notes>3</Notes>
  <HiddenSlides>0</HiddenSlides>
  <MMClips>0</MMClips>
  <ScaleCrop>false</ScaleCrop>
  <HeadingPairs>
    <vt:vector size="4" baseType="variant">
      <vt:variant>
        <vt:lpstr>Design</vt:lpstr>
      </vt:variant>
      <vt:variant>
        <vt:i4>1</vt:i4>
      </vt:variant>
      <vt:variant>
        <vt:lpstr>Folientitel</vt:lpstr>
      </vt:variant>
      <vt:variant>
        <vt:i4>7</vt:i4>
      </vt:variant>
    </vt:vector>
  </HeadingPairs>
  <TitlesOfParts>
    <vt:vector size="8" baseType="lpstr">
      <vt:lpstr>Uniper_16x9</vt:lpstr>
      <vt:lpstr>Revitalisierung des Pumpspeicherkraftwerks Happurg  </vt:lpstr>
      <vt:lpstr>Uniper-CEO Michael Lewis:  „Beitrag zu einer verlässlichen Stromversorgung in Süddeutschland”  Uniper hat die Entscheidung getroffen, das Pump-speicherkraftwerk in Happurg östlich von Nürnberg wieder in Betrieb zu nehmen und investiert damit rund 250 Mio.€ in verlässliche Energie-Infrastruktur in Bayern. Das Unternehmen unterstützt so die Energiewende mit einem substanziellen Beitrag und setzt seinen unternehmerischen Kurs der Transformation zu mehr regenerativer Stromerzeugung fort. Das Pumpspeicherkraftwerk speichert Energie und trägt damit zu einer größeren Sicherheit des Stromangebots in Süddeutschland bei.</vt:lpstr>
      <vt:lpstr>Das PSW Happurg hat das größte „grüne Akku-Potential“ Bayerns: </vt:lpstr>
      <vt:lpstr>Kenndaten PSW Happurg</vt:lpstr>
      <vt:lpstr>Genehmigungssituation</vt:lpstr>
      <vt:lpstr>Projektumfang und angestrebter Zeitplan</vt:lpstr>
      <vt:lpstr>Wirtschaftliche Herausforderungen für die Errichtung und den Betrieb von Pumpspeicherwerken (PSW)</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ktvorstellung Revitalisierung Pumpspeicherwerk Happurg</dc:title>
  <dc:creator>Kreglinger, Anne</dc:creator>
  <dc:description>Version: 1.0  Stand: 22.11.2017</dc:description>
  <cp:lastModifiedBy>Kreglinger, Anne</cp:lastModifiedBy>
  <cp:revision>5</cp:revision>
  <dcterms:created xsi:type="dcterms:W3CDTF">2022-09-02T06:28:52Z</dcterms:created>
  <dcterms:modified xsi:type="dcterms:W3CDTF">2024-06-28T10:2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2A38CE37CD434AA4D7A337334A8759</vt:lpwstr>
  </property>
  <property fmtid="{D5CDD505-2E9C-101B-9397-08002B2CF9AE}" pid="3" name="MediaServiceImageTags">
    <vt:lpwstr/>
  </property>
</Properties>
</file>